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notesSlides/notesSlide1.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2.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3.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4.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p:sldMasterIdLst>
    <p:sldMasterId id="2147483780" r:id="rId1"/>
  </p:sldMasterIdLst>
  <p:notesMasterIdLst>
    <p:notesMasterId r:id="rId18"/>
  </p:notesMasterIdLst>
  <p:handoutMasterIdLst>
    <p:handoutMasterId r:id="rId19"/>
  </p:handoutMasterIdLst>
  <p:sldIdLst>
    <p:sldId id="307" r:id="rId2"/>
    <p:sldId id="470" r:id="rId3"/>
    <p:sldId id="517" r:id="rId4"/>
    <p:sldId id="453" r:id="rId5"/>
    <p:sldId id="474" r:id="rId6"/>
    <p:sldId id="526" r:id="rId7"/>
    <p:sldId id="523" r:id="rId8"/>
    <p:sldId id="514" r:id="rId9"/>
    <p:sldId id="516" r:id="rId10"/>
    <p:sldId id="527" r:id="rId11"/>
    <p:sldId id="528" r:id="rId12"/>
    <p:sldId id="529" r:id="rId13"/>
    <p:sldId id="475" r:id="rId14"/>
    <p:sldId id="518" r:id="rId15"/>
    <p:sldId id="525" r:id="rId16"/>
    <p:sldId id="530" r:id="rId17"/>
  </p:sldIdLst>
  <p:sldSz cx="12192000" cy="6858000"/>
  <p:notesSz cx="9926638" cy="6797675"/>
  <p:embeddedFontLst>
    <p:embeddedFont>
      <p:font typeface="BebasNeueRegular" panose="020B0606020202050201" pitchFamily="34" charset="0"/>
      <p:regular r:id="rId20"/>
    </p:embeddedFont>
    <p:embeddedFont>
      <p:font typeface="Consolas" panose="020B0609020204030204" pitchFamily="49" charset="0"/>
      <p:regular r:id="rId21"/>
      <p:bold r:id="rId22"/>
      <p:italic r:id="rId23"/>
      <p:boldItalic r:id="rId24"/>
    </p:embeddedFont>
    <p:embeddedFont>
      <p:font typeface="Trebuchet MS" panose="020B0603020202020204" pitchFamily="34" charset="0"/>
      <p:regular r:id="rId25"/>
      <p:bold r:id="rId26"/>
      <p:italic r:id="rId27"/>
      <p:boldItalic r:id="rId28"/>
    </p:embeddedFont>
  </p:embeddedFontLst>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F0"/>
    <a:srgbClr val="07ABEC"/>
    <a:srgbClr val="0A99E0"/>
    <a:srgbClr val="08A2E6"/>
    <a:srgbClr val="02AFEF"/>
    <a:srgbClr val="F37121"/>
    <a:srgbClr val="08A5E8"/>
    <a:srgbClr val="0D77C8"/>
    <a:srgbClr val="E2E2E2"/>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00" autoAdjust="0"/>
    <p:restoredTop sz="96357" autoAdjust="0"/>
  </p:normalViewPr>
  <p:slideViewPr>
    <p:cSldViewPr snapToObjects="1">
      <p:cViewPr>
        <p:scale>
          <a:sx n="100" d="100"/>
          <a:sy n="100" d="100"/>
        </p:scale>
        <p:origin x="322" y="675"/>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4740"/>
    </p:cViewPr>
  </p:sorterViewPr>
  <p:notesViewPr>
    <p:cSldViewPr snapToObjects="1">
      <p:cViewPr varScale="1">
        <p:scale>
          <a:sx n="88" d="100"/>
          <a:sy n="88" d="100"/>
        </p:scale>
        <p:origin x="102" y="103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openxmlformats.org/officeDocument/2006/relationships/font" Target="fonts/font7.fntdata"/><Relationship Id="rId3" Type="http://schemas.openxmlformats.org/officeDocument/2006/relationships/slide" Target="slides/slide2.xml"/><Relationship Id="rId21" Type="http://schemas.openxmlformats.org/officeDocument/2006/relationships/font" Target="fonts/font2.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6.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1.fntdata"/><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5.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4.fntdata"/><Relationship Id="rId28" Type="http://schemas.openxmlformats.org/officeDocument/2006/relationships/font" Target="fonts/font9.fntdata"/><Relationship Id="rId10" Type="http://schemas.openxmlformats.org/officeDocument/2006/relationships/slide" Target="slides/slide9.xml"/><Relationship Id="rId19" Type="http://schemas.openxmlformats.org/officeDocument/2006/relationships/handoutMaster" Target="handoutMasters/handoutMaster1.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nl-NL" sz="800" dirty="0">
              <a:latin typeface="Trebuchet MS" panose="020B0603020202020204" pitchFamily="34" charset="0"/>
            </a:endParaRPr>
          </a:p>
        </p:txBody>
      </p:sp>
      <p:sp>
        <p:nvSpPr>
          <p:cNvPr id="3" name="Date Placeholder 2"/>
          <p:cNvSpPr>
            <a:spLocks noGrp="1"/>
          </p:cNvSpPr>
          <p:nvPr>
            <p:ph type="dt" sz="quarter" idx="1"/>
          </p:nvPr>
        </p:nvSpPr>
        <p:spPr>
          <a:xfrm>
            <a:off x="5621696" y="0"/>
            <a:ext cx="4302625" cy="340265"/>
          </a:xfrm>
          <a:prstGeom prst="rect">
            <a:avLst/>
          </a:prstGeom>
        </p:spPr>
        <p:txBody>
          <a:bodyPr vert="horz" lIns="91440" tIns="45720" rIns="91440" bIns="45720" rtlCol="0"/>
          <a:lstStyle>
            <a:lvl1pPr algn="r">
              <a:defRPr sz="1200"/>
            </a:lvl1pPr>
          </a:lstStyle>
          <a:p>
            <a:fld id="{11D247E0-0E31-41B4-A89F-A6AAA6F9C4FA}" type="datetimeFigureOut">
              <a:rPr lang="nl-NL" sz="800" smtClean="0">
                <a:latin typeface="Trebuchet MS" panose="020B0603020202020204" pitchFamily="34" charset="0"/>
              </a:rPr>
              <a:t>17-10-2021</a:t>
            </a:fld>
            <a:endParaRPr lang="nl-NL" sz="800" dirty="0">
              <a:latin typeface="Trebuchet MS" panose="020B0603020202020204" pitchFamily="34" charset="0"/>
            </a:endParaRPr>
          </a:p>
        </p:txBody>
      </p:sp>
      <p:sp>
        <p:nvSpPr>
          <p:cNvPr id="4" name="Footer Placeholder 3"/>
          <p:cNvSpPr>
            <a:spLocks noGrp="1"/>
          </p:cNvSpPr>
          <p:nvPr>
            <p:ph type="ftr" sz="quarter" idx="2"/>
          </p:nvPr>
        </p:nvSpPr>
        <p:spPr>
          <a:xfrm>
            <a:off x="0" y="6457410"/>
            <a:ext cx="4302625" cy="340265"/>
          </a:xfrm>
          <a:prstGeom prst="rect">
            <a:avLst/>
          </a:prstGeom>
        </p:spPr>
        <p:txBody>
          <a:bodyPr vert="horz" lIns="91440" tIns="45720" rIns="91440" bIns="45720" rtlCol="0" anchor="b"/>
          <a:lstStyle>
            <a:lvl1pPr algn="l">
              <a:defRPr sz="1200"/>
            </a:lvl1pPr>
          </a:lstStyle>
          <a:p>
            <a:endParaRPr lang="nl-NL" sz="800" dirty="0">
              <a:latin typeface="Trebuchet MS" panose="020B0603020202020204" pitchFamily="34" charset="0"/>
            </a:endParaRPr>
          </a:p>
        </p:txBody>
      </p:sp>
      <p:sp>
        <p:nvSpPr>
          <p:cNvPr id="5" name="Slide Number Placeholder 4"/>
          <p:cNvSpPr>
            <a:spLocks noGrp="1"/>
          </p:cNvSpPr>
          <p:nvPr>
            <p:ph type="sldNum" sz="quarter" idx="3"/>
          </p:nvPr>
        </p:nvSpPr>
        <p:spPr>
          <a:xfrm>
            <a:off x="5621696" y="6457410"/>
            <a:ext cx="4302625" cy="340265"/>
          </a:xfrm>
          <a:prstGeom prst="rect">
            <a:avLst/>
          </a:prstGeom>
        </p:spPr>
        <p:txBody>
          <a:bodyPr vert="horz" lIns="91440" tIns="45720" rIns="91440" bIns="45720" rtlCol="0" anchor="b"/>
          <a:lstStyle>
            <a:lvl1pPr algn="r">
              <a:defRPr sz="1200"/>
            </a:lvl1pPr>
          </a:lstStyle>
          <a:p>
            <a:fld id="{94F60683-01BC-48CD-B64E-BE6B9B9330FB}" type="slidenum">
              <a:rPr lang="nl-NL" sz="800" smtClean="0">
                <a:latin typeface="Trebuchet MS" panose="020B0603020202020204" pitchFamily="34" charset="0"/>
              </a:rPr>
              <a:t>‹#›</a:t>
            </a:fld>
            <a:endParaRPr lang="nl-NL" sz="800" dirty="0">
              <a:latin typeface="Trebuchet MS" panose="020B0603020202020204" pitchFamily="34" charset="0"/>
            </a:endParaRPr>
          </a:p>
        </p:txBody>
      </p:sp>
    </p:spTree>
    <p:extLst>
      <p:ext uri="{BB962C8B-B14F-4D97-AF65-F5344CB8AC3E}">
        <p14:creationId xmlns:p14="http://schemas.microsoft.com/office/powerpoint/2010/main" val="37289183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54"/>
          <p:cNvSpPr/>
          <p:nvPr/>
        </p:nvSpPr>
        <p:spPr>
          <a:xfrm>
            <a:off x="0" y="5288332"/>
            <a:ext cx="9924341" cy="1509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Trebuchet MS" panose="020B0603020202020204" pitchFamily="34" charset="0"/>
            </a:endParaRPr>
          </a:p>
        </p:txBody>
      </p:sp>
      <p:sp>
        <p:nvSpPr>
          <p:cNvPr id="2" name="Header Placehold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800">
                <a:solidFill>
                  <a:schemeClr val="tx1"/>
                </a:solidFill>
                <a:latin typeface="Trebuchet MS" panose="020B0603020202020204" pitchFamily="34" charset="0"/>
              </a:defRPr>
            </a:lvl1pPr>
          </a:lstStyle>
          <a:p>
            <a:endParaRPr lang="en-US" dirty="0"/>
          </a:p>
        </p:txBody>
      </p:sp>
      <p:sp>
        <p:nvSpPr>
          <p:cNvPr id="8" name="Date Placeholder 2"/>
          <p:cNvSpPr>
            <a:spLocks noGrp="1"/>
          </p:cNvSpPr>
          <p:nvPr>
            <p:ph type="dt" idx="1"/>
          </p:nvPr>
        </p:nvSpPr>
        <p:spPr>
          <a:xfrm>
            <a:off x="5622925" y="0"/>
            <a:ext cx="4302125" cy="341313"/>
          </a:xfrm>
          <a:prstGeom prst="rect">
            <a:avLst/>
          </a:prstGeom>
        </p:spPr>
        <p:txBody>
          <a:bodyPr vert="horz" lIns="91440" tIns="45720" rIns="91440" bIns="45720" rtlCol="0"/>
          <a:lstStyle>
            <a:lvl1pPr algn="r">
              <a:defRPr sz="800">
                <a:solidFill>
                  <a:schemeClr val="tx1"/>
                </a:solidFill>
                <a:latin typeface="Trebuchet MS" panose="020B0603020202020204" pitchFamily="34" charset="0"/>
              </a:defRPr>
            </a:lvl1pPr>
          </a:lstStyle>
          <a:p>
            <a:fld id="{096AB153-9A91-4699-A0A8-00F029C082D7}" type="datetimeFigureOut">
              <a:rPr lang="en-US" smtClean="0"/>
              <a:pPr/>
              <a:t>10/17/2021</a:t>
            </a:fld>
            <a:endParaRPr lang="en-US" dirty="0"/>
          </a:p>
        </p:txBody>
      </p:sp>
      <p:sp>
        <p:nvSpPr>
          <p:cNvPr id="5" name="Notes Placeholder 4"/>
          <p:cNvSpPr>
            <a:spLocks noGrp="1"/>
          </p:cNvSpPr>
          <p:nvPr>
            <p:ph type="body" sz="quarter" idx="3"/>
          </p:nvPr>
        </p:nvSpPr>
        <p:spPr>
          <a:xfrm>
            <a:off x="133200" y="5371200"/>
            <a:ext cx="9658800" cy="658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Image Placeholder 3"/>
          <p:cNvSpPr>
            <a:spLocks noGrp="1" noRot="1" noChangeAspect="1"/>
          </p:cNvSpPr>
          <p:nvPr>
            <p:ph type="sldImg" idx="2"/>
          </p:nvPr>
        </p:nvSpPr>
        <p:spPr>
          <a:xfrm>
            <a:off x="554400" y="196695"/>
            <a:ext cx="8819584" cy="4960800"/>
          </a:xfrm>
          <a:prstGeom prst="rect">
            <a:avLst/>
          </a:prstGeom>
          <a:noFill/>
          <a:ln w="9525">
            <a:solidFill>
              <a:schemeClr val="bg2"/>
            </a:solidFill>
          </a:ln>
        </p:spPr>
        <p:txBody>
          <a:bodyPr vert="horz" lIns="91440" tIns="45720" rIns="91440" bIns="45720" rtlCol="0" anchor="ctr"/>
          <a:lstStyle/>
          <a:p>
            <a:endParaRPr lang="en-US"/>
          </a:p>
        </p:txBody>
      </p:sp>
      <p:sp>
        <p:nvSpPr>
          <p:cNvPr id="6" name="Footer Placeholder 5"/>
          <p:cNvSpPr>
            <a:spLocks noGrp="1"/>
          </p:cNvSpPr>
          <p:nvPr>
            <p:ph type="ftr" sz="quarter" idx="4"/>
          </p:nvPr>
        </p:nvSpPr>
        <p:spPr>
          <a:xfrm>
            <a:off x="0" y="6457410"/>
            <a:ext cx="4302625" cy="340265"/>
          </a:xfrm>
          <a:prstGeom prst="rect">
            <a:avLst/>
          </a:prstGeom>
        </p:spPr>
        <p:txBody>
          <a:bodyPr vert="horz" lIns="91440" tIns="45720" rIns="91440" bIns="45720" rtlCol="0" anchor="b"/>
          <a:lstStyle>
            <a:lvl1pPr algn="l">
              <a:defRPr sz="800">
                <a:solidFill>
                  <a:schemeClr val="tx1"/>
                </a:solidFill>
                <a:latin typeface="Trebuchet MS" panose="020B0603020202020204" pitchFamily="34" charset="0"/>
              </a:defRPr>
            </a:lvl1pPr>
          </a:lstStyle>
          <a:p>
            <a:endParaRPr lang="en-US" dirty="0"/>
          </a:p>
        </p:txBody>
      </p:sp>
      <p:sp>
        <p:nvSpPr>
          <p:cNvPr id="7" name="Slide Number Placeholder 6"/>
          <p:cNvSpPr>
            <a:spLocks noGrp="1"/>
          </p:cNvSpPr>
          <p:nvPr>
            <p:ph type="sldNum" sz="quarter" idx="5"/>
          </p:nvPr>
        </p:nvSpPr>
        <p:spPr>
          <a:xfrm>
            <a:off x="5621696" y="6457410"/>
            <a:ext cx="4302625" cy="340265"/>
          </a:xfrm>
          <a:prstGeom prst="rect">
            <a:avLst/>
          </a:prstGeom>
        </p:spPr>
        <p:txBody>
          <a:bodyPr vert="horz" lIns="91440" tIns="45720" rIns="91440" bIns="45720" rtlCol="0" anchor="b"/>
          <a:lstStyle>
            <a:lvl1pPr algn="r">
              <a:defRPr sz="800">
                <a:solidFill>
                  <a:schemeClr val="tx1"/>
                </a:solidFill>
                <a:latin typeface="Trebuchet MS" panose="020B0603020202020204" pitchFamily="34" charset="0"/>
              </a:defRPr>
            </a:lvl1pPr>
          </a:lstStyle>
          <a:p>
            <a:fld id="{943A597E-C7F4-4D9E-9185-EFF6EBCB2C57}" type="slidenum">
              <a:rPr lang="en-US" smtClean="0"/>
              <a:pPr/>
              <a:t>‹#›</a:t>
            </a:fld>
            <a:endParaRPr lang="en-US" dirty="0"/>
          </a:p>
        </p:txBody>
      </p:sp>
    </p:spTree>
    <p:extLst>
      <p:ext uri="{BB962C8B-B14F-4D97-AF65-F5344CB8AC3E}">
        <p14:creationId xmlns:p14="http://schemas.microsoft.com/office/powerpoint/2010/main" val="208458529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Trebuchet MS" panose="020B0603020202020204" pitchFamily="34" charset="0"/>
        <a:ea typeface="+mn-ea"/>
        <a:cs typeface="+mn-cs"/>
      </a:defRPr>
    </a:lvl1pPr>
    <a:lvl2pPr marL="115200" indent="-115200" algn="l" defTabSz="914400" rtl="0" eaLnBrk="1" latinLnBrk="0" hangingPunct="1">
      <a:spcAft>
        <a:spcPts val="600"/>
      </a:spcAft>
      <a:buClr>
        <a:schemeClr val="tx1"/>
      </a:buClr>
      <a:buFont typeface="Arial" panose="020B0604020202020204" pitchFamily="34" charset="0"/>
      <a:buChar char="•"/>
      <a:defRPr sz="1200" kern="1200">
        <a:solidFill>
          <a:schemeClr val="tx1"/>
        </a:solidFill>
        <a:latin typeface="Trebuchet MS" panose="020B0603020202020204" pitchFamily="34" charset="0"/>
        <a:ea typeface="+mn-ea"/>
        <a:cs typeface="+mn-cs"/>
      </a:defRPr>
    </a:lvl2pPr>
    <a:lvl3pPr marL="230400" indent="-1152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Trebuchet MS" panose="020B0603020202020204" pitchFamily="34" charset="0"/>
        <a:ea typeface="+mn-ea"/>
        <a:cs typeface="+mn-cs"/>
      </a:defRPr>
    </a:lvl3pPr>
    <a:lvl4pPr marL="514800" indent="-115200" algn="l" defTabSz="914400" rtl="0" eaLnBrk="1" latinLnBrk="0" hangingPunct="1">
      <a:spcAft>
        <a:spcPts val="600"/>
      </a:spcAft>
      <a:buFont typeface="Arial" panose="020B0604020202020204" pitchFamily="34" charset="0"/>
      <a:buChar char="•"/>
      <a:defRPr sz="1000" kern="1200">
        <a:solidFill>
          <a:schemeClr val="tx1"/>
        </a:solidFill>
        <a:latin typeface="Trebuchet MS" panose="020B0603020202020204" pitchFamily="34" charset="0"/>
        <a:ea typeface="+mn-ea"/>
        <a:cs typeface="+mn-cs"/>
      </a:defRPr>
    </a:lvl4pPr>
    <a:lvl5pPr marL="687600" indent="-1152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Trebuchet MS" panose="020B0603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3A597E-C7F4-4D9E-9185-EFF6EBCB2C57}" type="slidenum">
              <a:rPr lang="en-US" smtClean="0"/>
              <a:pPr/>
              <a:t>0</a:t>
            </a:fld>
            <a:endParaRPr lang="en-US" dirty="0"/>
          </a:p>
        </p:txBody>
      </p:sp>
    </p:spTree>
    <p:extLst>
      <p:ext uri="{BB962C8B-B14F-4D97-AF65-F5344CB8AC3E}">
        <p14:creationId xmlns:p14="http://schemas.microsoft.com/office/powerpoint/2010/main" val="7176596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3A597E-C7F4-4D9E-9185-EFF6EBCB2C57}" type="slidenum">
              <a:rPr lang="en-US" smtClean="0"/>
              <a:pPr/>
              <a:t>1</a:t>
            </a:fld>
            <a:endParaRPr lang="en-US" dirty="0"/>
          </a:p>
        </p:txBody>
      </p:sp>
    </p:spTree>
    <p:extLst>
      <p:ext uri="{BB962C8B-B14F-4D97-AF65-F5344CB8AC3E}">
        <p14:creationId xmlns:p14="http://schemas.microsoft.com/office/powerpoint/2010/main" val="1529229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43A597E-C7F4-4D9E-9185-EFF6EBCB2C57}" type="slidenum">
              <a:rPr lang="en-US" smtClean="0"/>
              <a:pPr/>
              <a:t>3</a:t>
            </a:fld>
            <a:endParaRPr lang="en-US" dirty="0"/>
          </a:p>
        </p:txBody>
      </p:sp>
    </p:spTree>
    <p:extLst>
      <p:ext uri="{BB962C8B-B14F-4D97-AF65-F5344CB8AC3E}">
        <p14:creationId xmlns:p14="http://schemas.microsoft.com/office/powerpoint/2010/main" val="372082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43A597E-C7F4-4D9E-9185-EFF6EBCB2C57}" type="slidenum">
              <a:rPr lang="en-US" smtClean="0"/>
              <a:pPr/>
              <a:t>9</a:t>
            </a:fld>
            <a:endParaRPr lang="en-US" dirty="0"/>
          </a:p>
        </p:txBody>
      </p:sp>
    </p:spTree>
    <p:extLst>
      <p:ext uri="{BB962C8B-B14F-4D97-AF65-F5344CB8AC3E}">
        <p14:creationId xmlns:p14="http://schemas.microsoft.com/office/powerpoint/2010/main" val="345676580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5.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5.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5.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5.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7.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8.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25.vml"/><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26.vml"/><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7.vml"/><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9.xml"/><Relationship Id="rId7" Type="http://schemas.openxmlformats.org/officeDocument/2006/relationships/image" Target="../media/image9.jpeg"/><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3.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1.xml"/><Relationship Id="rId7" Type="http://schemas.openxmlformats.org/officeDocument/2006/relationships/image" Target="../media/image3.emf"/><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5.vml"/><Relationship Id="rId6" Type="http://schemas.openxmlformats.org/officeDocument/2006/relationships/image" Target="../media/image3.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6.vml"/><Relationship Id="rId6" Type="http://schemas.openxmlformats.org/officeDocument/2006/relationships/image" Target="../media/image3.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8.vml"/><Relationship Id="rId6" Type="http://schemas.openxmlformats.org/officeDocument/2006/relationships/image" Target="../media/image3.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9.vml"/><Relationship Id="rId6" Type="http://schemas.openxmlformats.org/officeDocument/2006/relationships/image" Target="../media/image3.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0.vml"/><Relationship Id="rId6" Type="http://schemas.openxmlformats.org/officeDocument/2006/relationships/image" Target="../media/image3.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1.vml"/><Relationship Id="rId6" Type="http://schemas.openxmlformats.org/officeDocument/2006/relationships/image" Target="../media/image3.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2.vml"/><Relationship Id="rId6" Type="http://schemas.openxmlformats.org/officeDocument/2006/relationships/image" Target="../media/image3.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3.vml"/><Relationship Id="rId6" Type="http://schemas.openxmlformats.org/officeDocument/2006/relationships/image" Target="../media/image3.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4.vml"/><Relationship Id="rId6" Type="http://schemas.openxmlformats.org/officeDocument/2006/relationships/image" Target="../media/image3.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5.vml"/><Relationship Id="rId6" Type="http://schemas.openxmlformats.org/officeDocument/2006/relationships/image" Target="../media/image3.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46.vml"/><Relationship Id="rId6" Type="http://schemas.openxmlformats.org/officeDocument/2006/relationships/image" Target="../media/image3.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vmlDrawing" Target="../drawings/vmlDrawing47.vml"/><Relationship Id="rId5" Type="http://schemas.openxmlformats.org/officeDocument/2006/relationships/image" Target="../media/image3.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48.vml"/><Relationship Id="rId6" Type="http://schemas.openxmlformats.org/officeDocument/2006/relationships/image" Target="../media/image3.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5.png"/><Relationship Id="rId2" Type="http://schemas.openxmlformats.org/officeDocument/2006/relationships/tags" Target="../tags/tag92.xml"/><Relationship Id="rId1" Type="http://schemas.openxmlformats.org/officeDocument/2006/relationships/vmlDrawing" Target="../drawings/vmlDrawing49.vml"/><Relationship Id="rId6" Type="http://schemas.openxmlformats.org/officeDocument/2006/relationships/image" Target="../media/image3.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5.png"/><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image" Target="../media/image3.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5.png"/><Relationship Id="rId2" Type="http://schemas.openxmlformats.org/officeDocument/2006/relationships/tags" Target="../tags/tag96.xml"/><Relationship Id="rId1" Type="http://schemas.openxmlformats.org/officeDocument/2006/relationships/vmlDrawing" Target="../drawings/vmlDrawing51.vml"/><Relationship Id="rId6" Type="http://schemas.openxmlformats.org/officeDocument/2006/relationships/image" Target="../media/image3.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5.png"/><Relationship Id="rId2" Type="http://schemas.openxmlformats.org/officeDocument/2006/relationships/tags" Target="../tags/tag98.xml"/><Relationship Id="rId1" Type="http://schemas.openxmlformats.org/officeDocument/2006/relationships/vmlDrawing" Target="../drawings/vmlDrawing52.vml"/><Relationship Id="rId6" Type="http://schemas.openxmlformats.org/officeDocument/2006/relationships/image" Target="../media/image3.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7.png"/><Relationship Id="rId2" Type="http://schemas.openxmlformats.org/officeDocument/2006/relationships/tags" Target="../tags/tag100.xml"/><Relationship Id="rId1" Type="http://schemas.openxmlformats.org/officeDocument/2006/relationships/vmlDrawing" Target="../drawings/vmlDrawing53.vml"/><Relationship Id="rId6" Type="http://schemas.openxmlformats.org/officeDocument/2006/relationships/image" Target="../media/image3.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7.png"/><Relationship Id="rId2" Type="http://schemas.openxmlformats.org/officeDocument/2006/relationships/tags" Target="../tags/tag102.xml"/><Relationship Id="rId1" Type="http://schemas.openxmlformats.org/officeDocument/2006/relationships/vmlDrawing" Target="../drawings/vmlDrawing54.vml"/><Relationship Id="rId6" Type="http://schemas.openxmlformats.org/officeDocument/2006/relationships/image" Target="../media/image3.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7.png"/><Relationship Id="rId2" Type="http://schemas.openxmlformats.org/officeDocument/2006/relationships/tags" Target="../tags/tag104.xml"/><Relationship Id="rId1" Type="http://schemas.openxmlformats.org/officeDocument/2006/relationships/vmlDrawing" Target="../drawings/vmlDrawing55.vml"/><Relationship Id="rId6" Type="http://schemas.openxmlformats.org/officeDocument/2006/relationships/image" Target="../media/image3.emf"/><Relationship Id="rId5" Type="http://schemas.openxmlformats.org/officeDocument/2006/relationships/oleObject" Target="../embeddings/oleObject55.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7.png"/><Relationship Id="rId2" Type="http://schemas.openxmlformats.org/officeDocument/2006/relationships/tags" Target="../tags/tag106.xml"/><Relationship Id="rId1" Type="http://schemas.openxmlformats.org/officeDocument/2006/relationships/vmlDrawing" Target="../drawings/vmlDrawing56.vml"/><Relationship Id="rId6" Type="http://schemas.openxmlformats.org/officeDocument/2006/relationships/image" Target="../media/image3.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7.png"/><Relationship Id="rId2" Type="http://schemas.openxmlformats.org/officeDocument/2006/relationships/tags" Target="../tags/tag108.xml"/><Relationship Id="rId1" Type="http://schemas.openxmlformats.org/officeDocument/2006/relationships/vmlDrawing" Target="../drawings/vmlDrawing57.vml"/><Relationship Id="rId6" Type="http://schemas.openxmlformats.org/officeDocument/2006/relationships/image" Target="../media/image3.emf"/><Relationship Id="rId5" Type="http://schemas.openxmlformats.org/officeDocument/2006/relationships/oleObject" Target="../embeddings/oleObject57.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vmlDrawing" Target="../drawings/vmlDrawing58.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vmlDrawing" Target="../drawings/vmlDrawing59.vml"/><Relationship Id="rId6" Type="http://schemas.openxmlformats.org/officeDocument/2006/relationships/image" Target="../media/image5.png"/><Relationship Id="rId5" Type="http://schemas.openxmlformats.org/officeDocument/2006/relationships/image" Target="../media/image10.emf"/><Relationship Id="rId4" Type="http://schemas.openxmlformats.org/officeDocument/2006/relationships/oleObject" Target="../embeddings/oleObject59.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037790-2503-42C0-A6F9-40E2D3C93A75}"/>
              </a:ext>
            </a:extLst>
          </p:cNvPr>
          <p:cNvGraphicFramePr>
            <a:graphicFrameLocks noChangeAspect="1"/>
          </p:cNvGraphicFramePr>
          <p:nvPr userDrawn="1">
            <p:custDataLst>
              <p:tags r:id="rId2"/>
            </p:custDataLst>
            <p:extLst>
              <p:ext uri="{D42A27DB-BD31-4B8C-83A1-F6EECF244321}">
                <p14:modId xmlns:p14="http://schemas.microsoft.com/office/powerpoint/2010/main" val="2326755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3"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8" name="TitleAndEndImages">
            <a:extLst>
              <a:ext uri="{FF2B5EF4-FFF2-40B4-BE49-F238E27FC236}">
                <a16:creationId xmlns:a16="http://schemas.microsoft.com/office/drawing/2014/main" id="{8E05238B-7787-4EFB-932A-E759749FF1BD}"/>
              </a:ext>
            </a:extLst>
          </p:cNvPr>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a:off x="0" y="0"/>
            <a:ext cx="12192000" cy="5276850"/>
          </a:xfrm>
          <a:prstGeom prst="rect">
            <a:avLst/>
          </a:prstGeom>
        </p:spPr>
      </p:pic>
      <p:sp>
        <p:nvSpPr>
          <p:cNvPr id="2" name="Rectangle 1" hidden="1">
            <a:extLst>
              <a:ext uri="{FF2B5EF4-FFF2-40B4-BE49-F238E27FC236}">
                <a16:creationId xmlns:a16="http://schemas.microsoft.com/office/drawing/2014/main" id="{333815FE-DE02-49CE-A04D-34843EA11ECE}"/>
              </a:ext>
            </a:extLst>
          </p:cNvPr>
          <p:cNvSpPr/>
          <p:nvPr userDrawn="1">
            <p:custDataLst>
              <p:tags r:id="rId4"/>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3000"/>
              </a:lnSpc>
              <a:spcBef>
                <a:spcPct val="0"/>
              </a:spcBef>
              <a:spcAft>
                <a:spcPct val="0"/>
              </a:spcAft>
            </a:pPr>
            <a:endParaRPr lang="en-US" sz="8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2" name="Rectangle 11"/>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pic>
        <p:nvPicPr>
          <p:cNvPr id="13" name="Picture 12"/>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9064" y="1998672"/>
            <a:ext cx="580573" cy="6858000"/>
          </a:xfrm>
          <a:prstGeom prst="rect">
            <a:avLst/>
          </a:prstGeom>
        </p:spPr>
      </p:pic>
      <p:sp>
        <p:nvSpPr>
          <p:cNvPr id="9" name="Picture Placeholder 8"/>
          <p:cNvSpPr>
            <a:spLocks noGrp="1"/>
          </p:cNvSpPr>
          <p:nvPr>
            <p:ph type="pic" sz="quarter" idx="13" hasCustomPrompt="1"/>
          </p:nvPr>
        </p:nvSpPr>
        <p:spPr>
          <a:xfrm>
            <a:off x="9320705" y="5565914"/>
            <a:ext cx="1948501" cy="985794"/>
          </a:xfrm>
        </p:spPr>
        <p:txBody>
          <a:bodyPr anchor="b"/>
          <a:lstStyle>
            <a:lvl1pPr algn="ctr">
              <a:defRPr sz="1600">
                <a:solidFill>
                  <a:schemeClr val="tx1"/>
                </a:solidFill>
              </a:defRPr>
            </a:lvl1pPr>
          </a:lstStyle>
          <a:p>
            <a:r>
              <a:rPr lang="en-US" dirty="0"/>
              <a:t>Logo</a:t>
            </a:r>
          </a:p>
        </p:txBody>
      </p:sp>
      <p:sp>
        <p:nvSpPr>
          <p:cNvPr id="90228" name="Rectangle 90227"/>
          <p:cNvSpPr/>
          <p:nvPr/>
        </p:nvSpPr>
        <p:spPr bwMode="black">
          <a:xfrm>
            <a:off x="630936" y="594252"/>
            <a:ext cx="8132787" cy="5548436"/>
          </a:xfrm>
          <a:prstGeom prst="rect">
            <a:avLst/>
          </a:prstGeom>
          <a:gradFill flip="none" rotWithShape="1">
            <a:gsLst>
              <a:gs pos="0">
                <a:schemeClr val="tx2">
                  <a:lumMod val="50000"/>
                </a:schemeClr>
              </a:gs>
              <a:gs pos="100000">
                <a:schemeClr val="accent2">
                  <a:lumMod val="75000"/>
                  <a:alpha val="55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7" name="Text Placeholder 6"/>
          <p:cNvSpPr>
            <a:spLocks noGrp="1"/>
          </p:cNvSpPr>
          <p:nvPr>
            <p:ph type="body" sz="quarter" idx="12" hasCustomPrompt="1"/>
          </p:nvPr>
        </p:nvSpPr>
        <p:spPr bwMode="ltGray">
          <a:xfrm>
            <a:off x="948327" y="6269849"/>
            <a:ext cx="6900121" cy="203133"/>
          </a:xfrm>
          <a:noFill/>
        </p:spPr>
        <p:txBody>
          <a:bodyPr anchor="ctr"/>
          <a:lstStyle>
            <a:lvl1pPr algn="l">
              <a:lnSpc>
                <a:spcPct val="110000"/>
              </a:lnSpc>
              <a:buNone/>
              <a:defRPr sz="1200" b="1" cap="all" baseline="0">
                <a:solidFill>
                  <a:schemeClr val="bg2">
                    <a:lumMod val="90000"/>
                  </a:schemeClr>
                </a:solidFill>
                <a:latin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 / place</a:t>
            </a:r>
          </a:p>
        </p:txBody>
      </p:sp>
      <p:sp>
        <p:nvSpPr>
          <p:cNvPr id="65" name="Subtitle 2"/>
          <p:cNvSpPr>
            <a:spLocks noGrp="1"/>
          </p:cNvSpPr>
          <p:nvPr>
            <p:ph type="subTitle" idx="1"/>
          </p:nvPr>
        </p:nvSpPr>
        <p:spPr bwMode="white">
          <a:xfrm>
            <a:off x="955655" y="5561454"/>
            <a:ext cx="6892793" cy="304699"/>
          </a:xfrm>
        </p:spPr>
        <p:txBody>
          <a:bodyPr anchor="ctr"/>
          <a:lstStyle>
            <a:lvl1pPr marL="0" indent="0" algn="l">
              <a:lnSpc>
                <a:spcPct val="110000"/>
              </a:lnSpc>
              <a:buNone/>
              <a:defRPr sz="1800">
                <a:solidFill>
                  <a:schemeClr val="bg1"/>
                </a:solidFill>
                <a:latin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6" name="Title 1"/>
          <p:cNvSpPr>
            <a:spLocks noGrp="1"/>
          </p:cNvSpPr>
          <p:nvPr>
            <p:ph type="ctrTitle"/>
          </p:nvPr>
        </p:nvSpPr>
        <p:spPr bwMode="ltGray">
          <a:xfrm>
            <a:off x="955656" y="1886242"/>
            <a:ext cx="6883364" cy="3138423"/>
          </a:xfrm>
        </p:spPr>
        <p:txBody>
          <a:bodyPr vert="horz" anchor="b">
            <a:noAutofit/>
          </a:bodyPr>
          <a:lstStyle>
            <a:lvl1pPr algn="l">
              <a:lnSpc>
                <a:spcPct val="93000"/>
              </a:lnSpc>
              <a:defRPr sz="8000">
                <a:solidFill>
                  <a:schemeClr val="bg1"/>
                </a:solidFill>
                <a:latin typeface="BebasNeueRegular" panose="020B0606020202050201" pitchFamily="34" charset="0"/>
              </a:defRPr>
            </a:lvl1pPr>
          </a:lstStyle>
          <a:p>
            <a:r>
              <a:rPr lang="en-US" dirty="0"/>
              <a:t>Click to edit Master title style</a:t>
            </a:r>
          </a:p>
        </p:txBody>
      </p:sp>
    </p:spTree>
    <p:extLst>
      <p:ext uri="{BB962C8B-B14F-4D97-AF65-F5344CB8AC3E}">
        <p14:creationId xmlns:p14="http://schemas.microsoft.com/office/powerpoint/2010/main" val="2821299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067D02-FE23-485E-96F9-F6D93AAED507}"/>
              </a:ext>
            </a:extLst>
          </p:cNvPr>
          <p:cNvGraphicFramePr>
            <a:graphicFrameLocks noChangeAspect="1"/>
          </p:cNvGraphicFramePr>
          <p:nvPr userDrawn="1">
            <p:custDataLst>
              <p:tags r:id="rId2"/>
            </p:custDataLst>
            <p:extLst>
              <p:ext uri="{D42A27DB-BD31-4B8C-83A1-F6EECF244321}">
                <p14:modId xmlns:p14="http://schemas.microsoft.com/office/powerpoint/2010/main" val="3205866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1E57800-75B4-44B0-A8D1-2EA86AF532BD}"/>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3" name="Text Placeholder 2"/>
          <p:cNvSpPr>
            <a:spLocks noGrp="1"/>
          </p:cNvSpPr>
          <p:nvPr>
            <p:ph type="body" sz="quarter" idx="20" hasCustomPrompt="1"/>
          </p:nvPr>
        </p:nvSpPr>
        <p:spPr>
          <a:xfrm>
            <a:off x="630238" y="3238500"/>
            <a:ext cx="3448050" cy="2613023"/>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2"/>
          <p:cNvSpPr>
            <a:spLocks noGrp="1"/>
          </p:cNvSpPr>
          <p:nvPr>
            <p:ph type="body" sz="quarter" idx="21" hasCustomPrompt="1"/>
          </p:nvPr>
        </p:nvSpPr>
        <p:spPr>
          <a:xfrm>
            <a:off x="4365497" y="3238500"/>
            <a:ext cx="3448050" cy="2613023"/>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
          <p:cNvSpPr>
            <a:spLocks noGrp="1"/>
          </p:cNvSpPr>
          <p:nvPr>
            <p:ph type="body" sz="quarter" idx="22" hasCustomPrompt="1"/>
          </p:nvPr>
        </p:nvSpPr>
        <p:spPr>
          <a:xfrm>
            <a:off x="8100756" y="3238500"/>
            <a:ext cx="3448050" cy="2613023"/>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p:txBody>
          <a:bodyPr/>
          <a:lstStyle/>
          <a:p>
            <a:r>
              <a:rPr lang="en-US"/>
              <a:t>Click to edit Master title style</a:t>
            </a:r>
            <a:endParaRPr lang="en-US" dirty="0"/>
          </a:p>
        </p:txBody>
      </p:sp>
      <p:sp>
        <p:nvSpPr>
          <p:cNvPr id="13" name="Text Placeholder 2"/>
          <p:cNvSpPr>
            <a:spLocks noGrp="1"/>
          </p:cNvSpPr>
          <p:nvPr>
            <p:ph type="body" sz="quarter" idx="23" hasCustomPrompt="1"/>
          </p:nvPr>
        </p:nvSpPr>
        <p:spPr>
          <a:xfrm>
            <a:off x="630238" y="2357837"/>
            <a:ext cx="3448050" cy="667512"/>
          </a:xfrm>
        </p:spPr>
        <p:txBody>
          <a:bodyPr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vl6pPr>
              <a:defRPr/>
            </a:lvl6pPr>
            <a:lvl7pPr>
              <a:defRPr/>
            </a:lvl7pPr>
            <a:lvl8pPr>
              <a:defRPr/>
            </a:lvl8pPr>
            <a:lvl9pPr>
              <a:defRPr/>
            </a:lvl9pPr>
          </a:lstStyle>
          <a:p>
            <a:pPr lvl="0"/>
            <a:r>
              <a:rPr lang="en-US"/>
              <a:t>Click to edit heading text</a:t>
            </a:r>
            <a:endParaRPr lang="en-US" dirty="0"/>
          </a:p>
        </p:txBody>
      </p:sp>
      <p:sp>
        <p:nvSpPr>
          <p:cNvPr id="14" name="Text Placeholder 2"/>
          <p:cNvSpPr>
            <a:spLocks noGrp="1"/>
          </p:cNvSpPr>
          <p:nvPr>
            <p:ph type="body" sz="quarter" idx="24" hasCustomPrompt="1"/>
          </p:nvPr>
        </p:nvSpPr>
        <p:spPr>
          <a:xfrm>
            <a:off x="4365497" y="2357837"/>
            <a:ext cx="3448050" cy="667512"/>
          </a:xfrm>
        </p:spPr>
        <p:txBody>
          <a:bodyPr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17" name="Text Placeholder 2"/>
          <p:cNvSpPr>
            <a:spLocks noGrp="1"/>
          </p:cNvSpPr>
          <p:nvPr>
            <p:ph type="body" sz="quarter" idx="25" hasCustomPrompt="1"/>
          </p:nvPr>
        </p:nvSpPr>
        <p:spPr>
          <a:xfrm>
            <a:off x="8100756" y="2357836"/>
            <a:ext cx="3448050" cy="667512"/>
          </a:xfrm>
        </p:spPr>
        <p:txBody>
          <a:bodyPr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2" name="Date Placeholder 1"/>
          <p:cNvSpPr>
            <a:spLocks noGrp="1"/>
          </p:cNvSpPr>
          <p:nvPr>
            <p:ph type="dt" sz="half" idx="26"/>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2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995350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448081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FDBF9CC-1529-4340-82A0-DBC52512896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7" name="Title 6"/>
          <p:cNvSpPr>
            <a:spLocks noGrp="1"/>
          </p:cNvSpPr>
          <p:nvPr>
            <p:ph type="title"/>
          </p:nvPr>
        </p:nvSpPr>
        <p:spPr/>
        <p:txBody>
          <a:bodyPr/>
          <a:lstStyle/>
          <a:p>
            <a:r>
              <a:rPr lang="en-US"/>
              <a:t>Click to edit Master title style</a:t>
            </a:r>
            <a:endParaRPr lang="en-US" dirty="0"/>
          </a:p>
        </p:txBody>
      </p:sp>
      <p:sp>
        <p:nvSpPr>
          <p:cNvPr id="12" name="Text Placeholder 2"/>
          <p:cNvSpPr>
            <a:spLocks noGrp="1"/>
          </p:cNvSpPr>
          <p:nvPr>
            <p:ph type="body" sz="quarter" idx="23" hasCustomPrompt="1"/>
          </p:nvPr>
        </p:nvSpPr>
        <p:spPr>
          <a:xfrm>
            <a:off x="630238" y="3238499"/>
            <a:ext cx="2517419" cy="1221873"/>
          </a:xfrm>
        </p:spPr>
        <p:txBody>
          <a:bodyPr/>
          <a:lstStyle>
            <a:lvl1pPr>
              <a:defRPr>
                <a:latin typeface="+mn-lt"/>
              </a:defRPr>
            </a:lvl1pPr>
            <a:lvl2pPr>
              <a:defRPr>
                <a:latin typeface="+mn-lt"/>
              </a:defRPr>
            </a:lvl2pPr>
            <a:lvl3pPr marL="0" indent="0">
              <a:buNone/>
              <a:defRPr/>
            </a:lvl3pPr>
            <a:lvl4pPr>
              <a:buNone/>
              <a:defRPr/>
            </a:lvl4pPr>
            <a:lvl5pPr>
              <a:defRPr/>
            </a:lvl5pPr>
            <a:lvl6pPr>
              <a:defRPr/>
            </a:lvl6pPr>
            <a:lvl7pPr>
              <a:defRPr/>
            </a:lvl7pPr>
            <a:lvl8pPr>
              <a:defRPr/>
            </a:lvl8pPr>
            <a:lvl9pPr>
              <a:defRPr/>
            </a:lvl9pPr>
          </a:lstStyle>
          <a:p>
            <a:pPr lvl="0"/>
            <a:r>
              <a:rPr lang="en-US"/>
              <a:t>Click to edit Master text styles</a:t>
            </a:r>
          </a:p>
          <a:p>
            <a:pPr lvl="1"/>
            <a:r>
              <a:rPr lang="en-US"/>
              <a:t>Second level</a:t>
            </a:r>
          </a:p>
        </p:txBody>
      </p:sp>
      <p:sp>
        <p:nvSpPr>
          <p:cNvPr id="13" name="Text Placeholder 2"/>
          <p:cNvSpPr>
            <a:spLocks noGrp="1"/>
          </p:cNvSpPr>
          <p:nvPr>
            <p:ph type="body" sz="quarter" idx="24" hasCustomPrompt="1"/>
          </p:nvPr>
        </p:nvSpPr>
        <p:spPr>
          <a:xfrm>
            <a:off x="3431454" y="3238499"/>
            <a:ext cx="2517419" cy="1221873"/>
          </a:xfrm>
        </p:spPr>
        <p:txBody>
          <a:bodyPr/>
          <a:lstStyle>
            <a:lvl1pPr>
              <a:defRPr>
                <a:latin typeface="+mn-lt"/>
              </a:defRPr>
            </a:lvl1pPr>
            <a:lvl2pPr>
              <a:defRPr>
                <a:latin typeface="+mn-lt"/>
              </a:defRPr>
            </a:lvl2pPr>
            <a:lvl3pPr marL="0" indent="0">
              <a:buNone/>
              <a:defRPr/>
            </a:lvl3pPr>
            <a:lvl4pPr>
              <a:buNone/>
              <a:defRPr/>
            </a:lvl4pPr>
          </a:lstStyle>
          <a:p>
            <a:pPr lvl="0"/>
            <a:r>
              <a:rPr lang="en-US"/>
              <a:t>Click to edit Master text styles</a:t>
            </a:r>
          </a:p>
          <a:p>
            <a:pPr lvl="1"/>
            <a:r>
              <a:rPr lang="en-US"/>
              <a:t>Second level</a:t>
            </a:r>
          </a:p>
        </p:txBody>
      </p:sp>
      <p:sp>
        <p:nvSpPr>
          <p:cNvPr id="14" name="Text Placeholder 2"/>
          <p:cNvSpPr>
            <a:spLocks noGrp="1"/>
          </p:cNvSpPr>
          <p:nvPr>
            <p:ph type="body" sz="quarter" idx="25" hasCustomPrompt="1"/>
          </p:nvPr>
        </p:nvSpPr>
        <p:spPr>
          <a:xfrm>
            <a:off x="6255011" y="3238499"/>
            <a:ext cx="2517419" cy="1221873"/>
          </a:xfrm>
        </p:spPr>
        <p:txBody>
          <a:bodyPr/>
          <a:lstStyle>
            <a:lvl1pPr>
              <a:defRPr>
                <a:latin typeface="+mn-lt"/>
              </a:defRPr>
            </a:lvl1pPr>
            <a:lvl2pPr>
              <a:defRPr>
                <a:latin typeface="+mn-lt"/>
              </a:defRPr>
            </a:lvl2pPr>
            <a:lvl3pPr marL="0" indent="0">
              <a:buNone/>
              <a:defRPr/>
            </a:lvl3pPr>
          </a:lstStyle>
          <a:p>
            <a:pPr lvl="0"/>
            <a:r>
              <a:rPr lang="en-US"/>
              <a:t>Click to edit Master text styles</a:t>
            </a:r>
          </a:p>
          <a:p>
            <a:pPr lvl="1"/>
            <a:r>
              <a:rPr lang="en-US"/>
              <a:t>Second level</a:t>
            </a:r>
          </a:p>
        </p:txBody>
      </p:sp>
      <p:sp>
        <p:nvSpPr>
          <p:cNvPr id="15" name="Text Placeholder 2"/>
          <p:cNvSpPr>
            <a:spLocks noGrp="1"/>
          </p:cNvSpPr>
          <p:nvPr>
            <p:ph type="body" sz="quarter" idx="26" hasCustomPrompt="1"/>
          </p:nvPr>
        </p:nvSpPr>
        <p:spPr>
          <a:xfrm>
            <a:off x="630238"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vl6pPr>
              <a:defRPr/>
            </a:lvl6pPr>
            <a:lvl7pPr>
              <a:defRPr/>
            </a:lvl7pPr>
            <a:lvl8pPr>
              <a:defRPr/>
            </a:lvl8pPr>
            <a:lvl9pPr>
              <a:defRPr/>
            </a:lvl9pPr>
          </a:lstStyle>
          <a:p>
            <a:pPr lvl="0"/>
            <a:r>
              <a:rPr lang="en-US"/>
              <a:t>Click to edit heading text</a:t>
            </a:r>
            <a:endParaRPr lang="en-US" dirty="0"/>
          </a:p>
        </p:txBody>
      </p:sp>
      <p:sp>
        <p:nvSpPr>
          <p:cNvPr id="16" name="Text Placeholder 2"/>
          <p:cNvSpPr>
            <a:spLocks noGrp="1"/>
          </p:cNvSpPr>
          <p:nvPr>
            <p:ph type="body" sz="quarter" idx="27" hasCustomPrompt="1"/>
          </p:nvPr>
        </p:nvSpPr>
        <p:spPr>
          <a:xfrm>
            <a:off x="3431454"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17" name="Text Placeholder 2"/>
          <p:cNvSpPr>
            <a:spLocks noGrp="1"/>
          </p:cNvSpPr>
          <p:nvPr>
            <p:ph type="body" sz="quarter" idx="28" hasCustomPrompt="1"/>
          </p:nvPr>
        </p:nvSpPr>
        <p:spPr>
          <a:xfrm>
            <a:off x="6255011"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18" name="Text Placeholder 2"/>
          <p:cNvSpPr>
            <a:spLocks noGrp="1"/>
          </p:cNvSpPr>
          <p:nvPr>
            <p:ph type="body" sz="quarter" idx="29" hasCustomPrompt="1"/>
          </p:nvPr>
        </p:nvSpPr>
        <p:spPr>
          <a:xfrm>
            <a:off x="9032704" y="3238499"/>
            <a:ext cx="2517419" cy="1221873"/>
          </a:xfrm>
        </p:spPr>
        <p:txBody>
          <a:bodyPr/>
          <a:lstStyle>
            <a:lvl1pPr>
              <a:defRPr>
                <a:latin typeface="+mn-lt"/>
              </a:defRPr>
            </a:lvl1pPr>
            <a:lvl2pPr>
              <a:defRPr>
                <a:latin typeface="+mn-lt"/>
              </a:defRPr>
            </a:lvl2pPr>
            <a:lvl3pPr marL="0" indent="0">
              <a:buNone/>
              <a:defRPr/>
            </a:lvl3pPr>
            <a:lvl4pPr>
              <a:buNone/>
              <a:defRPr/>
            </a:lvl4pPr>
          </a:lstStyle>
          <a:p>
            <a:pPr lvl="0"/>
            <a:r>
              <a:rPr lang="en-US"/>
              <a:t>Click to edit Master text styles</a:t>
            </a:r>
          </a:p>
          <a:p>
            <a:pPr lvl="1"/>
            <a:r>
              <a:rPr lang="en-US"/>
              <a:t>Second level</a:t>
            </a:r>
          </a:p>
        </p:txBody>
      </p:sp>
      <p:sp>
        <p:nvSpPr>
          <p:cNvPr id="19" name="Text Placeholder 2"/>
          <p:cNvSpPr>
            <a:spLocks noGrp="1"/>
          </p:cNvSpPr>
          <p:nvPr>
            <p:ph type="body" sz="quarter" idx="30" hasCustomPrompt="1"/>
          </p:nvPr>
        </p:nvSpPr>
        <p:spPr>
          <a:xfrm>
            <a:off x="9032704" y="2355124"/>
            <a:ext cx="251741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 text</a:t>
            </a:r>
            <a:endParaRPr lang="en-US" dirty="0"/>
          </a:p>
        </p:txBody>
      </p:sp>
      <p:sp>
        <p:nvSpPr>
          <p:cNvPr id="2" name="Date Placeholder 1"/>
          <p:cNvSpPr>
            <a:spLocks noGrp="1"/>
          </p:cNvSpPr>
          <p:nvPr>
            <p:ph type="dt" sz="half" idx="31"/>
          </p:nvPr>
        </p:nvSpPr>
        <p:spPr/>
        <p:txBody>
          <a:bodyPr/>
          <a:lstStyle/>
          <a:p>
            <a:endParaRPr lang="en-US" dirty="0">
              <a:solidFill>
                <a:prstClr val="white">
                  <a:lumMod val="65000"/>
                </a:prstClr>
              </a:solidFill>
            </a:endParaRPr>
          </a:p>
        </p:txBody>
      </p:sp>
      <p:sp>
        <p:nvSpPr>
          <p:cNvPr id="3" name="Footer Placeholder 2"/>
          <p:cNvSpPr>
            <a:spLocks noGrp="1"/>
          </p:cNvSpPr>
          <p:nvPr>
            <p:ph type="ftr" sz="quarter" idx="32"/>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3940785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ive headin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72FDE9-7B9C-4D07-891C-11F82D3EED9A}"/>
              </a:ext>
            </a:extLst>
          </p:cNvPr>
          <p:cNvGraphicFramePr>
            <a:graphicFrameLocks noChangeAspect="1"/>
          </p:cNvGraphicFramePr>
          <p:nvPr userDrawn="1">
            <p:custDataLst>
              <p:tags r:id="rId2"/>
            </p:custDataLst>
            <p:extLst>
              <p:ext uri="{D42A27DB-BD31-4B8C-83A1-F6EECF244321}">
                <p14:modId xmlns:p14="http://schemas.microsoft.com/office/powerpoint/2010/main" val="841895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B45D2D2-B267-41A7-A8BA-8EEC45B90869}"/>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8" name="Title 7"/>
          <p:cNvSpPr>
            <a:spLocks noGrp="1"/>
          </p:cNvSpPr>
          <p:nvPr>
            <p:ph type="title"/>
          </p:nvPr>
        </p:nvSpPr>
        <p:spPr/>
        <p:txBody>
          <a:bodyPr/>
          <a:lstStyle/>
          <a:p>
            <a:r>
              <a:rPr lang="en-US"/>
              <a:t>Click to edit Master title style</a:t>
            </a:r>
            <a:endParaRPr lang="en-US" dirty="0"/>
          </a:p>
        </p:txBody>
      </p:sp>
      <p:sp>
        <p:nvSpPr>
          <p:cNvPr id="14" name="Text Placeholder 2"/>
          <p:cNvSpPr>
            <a:spLocks noGrp="1"/>
          </p:cNvSpPr>
          <p:nvPr>
            <p:ph type="body" sz="quarter" idx="26" hasCustomPrompt="1"/>
          </p:nvPr>
        </p:nvSpPr>
        <p:spPr>
          <a:xfrm>
            <a:off x="630238"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vl6pPr>
              <a:defRPr/>
            </a:lvl6pPr>
            <a:lvl7pPr>
              <a:defRPr/>
            </a:lvl7pPr>
            <a:lvl8pPr>
              <a:defRPr/>
            </a:lvl8pPr>
            <a:lvl9pPr>
              <a:defRPr/>
            </a:lvl9pPr>
          </a:lstStyle>
          <a:p>
            <a:pPr lvl="0"/>
            <a:r>
              <a:rPr lang="en-US" dirty="0"/>
              <a:t>Click to edit Master </a:t>
            </a:r>
            <a:r>
              <a:rPr lang="en-US"/>
              <a:t>text styles</a:t>
            </a:r>
            <a:endParaRPr lang="en-US" dirty="0"/>
          </a:p>
        </p:txBody>
      </p:sp>
      <p:sp>
        <p:nvSpPr>
          <p:cNvPr id="15" name="Text Placeholder 2"/>
          <p:cNvSpPr>
            <a:spLocks noGrp="1"/>
          </p:cNvSpPr>
          <p:nvPr>
            <p:ph type="body" sz="quarter" idx="27" hasCustomPrompt="1"/>
          </p:nvPr>
        </p:nvSpPr>
        <p:spPr>
          <a:xfrm>
            <a:off x="2876314"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16" name="Text Placeholder 2"/>
          <p:cNvSpPr>
            <a:spLocks noGrp="1"/>
          </p:cNvSpPr>
          <p:nvPr>
            <p:ph type="body" sz="quarter" idx="28" hasCustomPrompt="1"/>
          </p:nvPr>
        </p:nvSpPr>
        <p:spPr>
          <a:xfrm>
            <a:off x="5129562"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17" name="Text Placeholder 2"/>
          <p:cNvSpPr>
            <a:spLocks noGrp="1"/>
          </p:cNvSpPr>
          <p:nvPr>
            <p:ph type="body" sz="quarter" idx="29" hasCustomPrompt="1"/>
          </p:nvPr>
        </p:nvSpPr>
        <p:spPr>
          <a:xfrm>
            <a:off x="630238"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vl6pPr>
              <a:defRPr/>
            </a:lvl6pPr>
            <a:lvl7pPr>
              <a:defRPr/>
            </a:lvl7pPr>
            <a:lvl8pPr>
              <a:defRPr/>
            </a:lvl8pPr>
            <a:lvl9pPr>
              <a:defRPr/>
            </a:lvl9pPr>
          </a:lstStyle>
          <a:p>
            <a:pPr lvl="0"/>
            <a:r>
              <a:rPr lang="en-US" dirty="0"/>
              <a:t>Click to edit heading</a:t>
            </a:r>
          </a:p>
        </p:txBody>
      </p:sp>
      <p:sp>
        <p:nvSpPr>
          <p:cNvPr id="18" name="Text Placeholder 2"/>
          <p:cNvSpPr>
            <a:spLocks noGrp="1"/>
          </p:cNvSpPr>
          <p:nvPr>
            <p:ph type="body" sz="quarter" idx="30" hasCustomPrompt="1"/>
          </p:nvPr>
        </p:nvSpPr>
        <p:spPr>
          <a:xfrm>
            <a:off x="2876314"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19" name="Text Placeholder 2"/>
          <p:cNvSpPr>
            <a:spLocks noGrp="1"/>
          </p:cNvSpPr>
          <p:nvPr>
            <p:ph type="body" sz="quarter" idx="31" hasCustomPrompt="1"/>
          </p:nvPr>
        </p:nvSpPr>
        <p:spPr>
          <a:xfrm>
            <a:off x="5129562"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20" name="Text Placeholder 2"/>
          <p:cNvSpPr>
            <a:spLocks noGrp="1"/>
          </p:cNvSpPr>
          <p:nvPr>
            <p:ph type="body" sz="quarter" idx="32" hasCustomPrompt="1"/>
          </p:nvPr>
        </p:nvSpPr>
        <p:spPr>
          <a:xfrm>
            <a:off x="7367974"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21" name="Text Placeholder 2"/>
          <p:cNvSpPr>
            <a:spLocks noGrp="1"/>
          </p:cNvSpPr>
          <p:nvPr>
            <p:ph type="body" sz="quarter" idx="33" hasCustomPrompt="1"/>
          </p:nvPr>
        </p:nvSpPr>
        <p:spPr>
          <a:xfrm>
            <a:off x="7367974"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22" name="Text Placeholder 2"/>
          <p:cNvSpPr>
            <a:spLocks noGrp="1"/>
          </p:cNvSpPr>
          <p:nvPr>
            <p:ph type="body" sz="quarter" idx="34" hasCustomPrompt="1"/>
          </p:nvPr>
        </p:nvSpPr>
        <p:spPr>
          <a:xfrm>
            <a:off x="9601078" y="3238499"/>
            <a:ext cx="1944999" cy="1218795"/>
          </a:xfrm>
        </p:spPr>
        <p:txBody>
          <a:bodyPr/>
          <a:lstStyle>
            <a:lvl1pPr>
              <a:buNone/>
              <a:defRPr>
                <a:latin typeface="+mn-lt"/>
              </a:defRPr>
            </a:lvl1pPr>
            <a:lvl2pPr marL="114300" indent="0">
              <a:buNone/>
              <a:defRPr/>
            </a:lvl2pPr>
            <a:lvl3pPr marL="514350" indent="0">
              <a:buNone/>
              <a:defRPr/>
            </a:lvl3pPr>
            <a:lvl4pPr>
              <a:buNone/>
              <a:defRPr/>
            </a:lvl4pPr>
            <a:lvl5pPr>
              <a:buNone/>
              <a:defRPr/>
            </a:lvl5pPr>
          </a:lstStyle>
          <a:p>
            <a:pPr lvl="0"/>
            <a:r>
              <a:rPr lang="en-US"/>
              <a:t>Click to edit Master text styles</a:t>
            </a:r>
            <a:endParaRPr lang="en-US" dirty="0"/>
          </a:p>
        </p:txBody>
      </p:sp>
      <p:sp>
        <p:nvSpPr>
          <p:cNvPr id="23" name="Text Placeholder 2"/>
          <p:cNvSpPr>
            <a:spLocks noGrp="1"/>
          </p:cNvSpPr>
          <p:nvPr>
            <p:ph type="body" sz="quarter" idx="35" hasCustomPrompt="1"/>
          </p:nvPr>
        </p:nvSpPr>
        <p:spPr>
          <a:xfrm>
            <a:off x="9601078" y="2355124"/>
            <a:ext cx="1944999" cy="664797"/>
          </a:xfrm>
        </p:spPr>
        <p:txBody>
          <a:bodyPr wrap="square" anchor="b">
            <a:spAutoFit/>
          </a:bodyPr>
          <a:lstStyle>
            <a:lvl1pPr>
              <a:lnSpc>
                <a:spcPct val="90000"/>
              </a:lnSpc>
              <a:buNone/>
              <a:defRPr>
                <a:solidFill>
                  <a:schemeClr val="tx2"/>
                </a:solidFill>
                <a:latin typeface="+mn-lt"/>
              </a:defRPr>
            </a:lvl1pPr>
            <a:lvl2pPr marL="0" indent="0">
              <a:buNone/>
              <a:defRPr/>
            </a:lvl2pPr>
            <a:lvl3pPr marL="220154" indent="0">
              <a:buNone/>
              <a:defRPr/>
            </a:lvl3pPr>
            <a:lvl4pPr>
              <a:buNone/>
              <a:defRPr/>
            </a:lvl4pPr>
            <a:lvl5pPr marL="457200" indent="0">
              <a:buNone/>
              <a:defRPr/>
            </a:lvl5pPr>
          </a:lstStyle>
          <a:p>
            <a:pPr lvl="0"/>
            <a:r>
              <a:rPr lang="en-US"/>
              <a:t>Click to edit heading</a:t>
            </a:r>
            <a:endParaRPr lang="en-US" dirty="0"/>
          </a:p>
        </p:txBody>
      </p:sp>
      <p:sp>
        <p:nvSpPr>
          <p:cNvPr id="2" name="Date Placeholder 1"/>
          <p:cNvSpPr>
            <a:spLocks noGrp="1"/>
          </p:cNvSpPr>
          <p:nvPr>
            <p:ph type="dt" sz="half" idx="36"/>
          </p:nvPr>
        </p:nvSpPr>
        <p:spPr/>
        <p:txBody>
          <a:bodyPr/>
          <a:lstStyle/>
          <a:p>
            <a:endParaRPr lang="en-US" dirty="0">
              <a:solidFill>
                <a:prstClr val="white">
                  <a:lumMod val="65000"/>
                </a:prstClr>
              </a:solidFill>
            </a:endParaRPr>
          </a:p>
        </p:txBody>
      </p:sp>
      <p:sp>
        <p:nvSpPr>
          <p:cNvPr id="3" name="Footer Placeholder 2"/>
          <p:cNvSpPr>
            <a:spLocks noGrp="1"/>
          </p:cNvSpPr>
          <p:nvPr>
            <p:ph type="ftr" sz="quarter" idx="3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206641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D07B7CC-45D2-4784-B7F8-E7579CD1F557}"/>
              </a:ext>
            </a:extLst>
          </p:cNvPr>
          <p:cNvGraphicFramePr>
            <a:graphicFrameLocks noChangeAspect="1"/>
          </p:cNvGraphicFramePr>
          <p:nvPr userDrawn="1">
            <p:custDataLst>
              <p:tags r:id="rId2"/>
            </p:custDataLst>
            <p:extLst>
              <p:ext uri="{D42A27DB-BD31-4B8C-83A1-F6EECF244321}">
                <p14:modId xmlns:p14="http://schemas.microsoft.com/office/powerpoint/2010/main" val="251110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BED1D5-85EF-4680-9F47-1CBA1A1035C1}"/>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ts val="6000"/>
              </a:lnSpc>
              <a:spcBef>
                <a:spcPct val="0"/>
              </a:spcBef>
              <a:spcAft>
                <a:spcPct val="0"/>
              </a:spcAft>
            </a:pPr>
            <a:endParaRPr lang="en-US" sz="54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sp>
        <p:nvSpPr>
          <p:cNvPr id="2" name="Title 1"/>
          <p:cNvSpPr>
            <a:spLocks noGrp="1"/>
          </p:cNvSpPr>
          <p:nvPr>
            <p:ph type="title" hasCustomPrompt="1"/>
          </p:nvPr>
        </p:nvSpPr>
        <p:spPr bwMode="white">
          <a:xfrm>
            <a:off x="1278225" y="2657217"/>
            <a:ext cx="9634846" cy="3203680"/>
          </a:xfr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defRPr>
            </a:lvl1pPr>
          </a:lstStyle>
          <a:p>
            <a:r>
              <a:rPr lang="en-US" dirty="0"/>
              <a:t>Click to edit section title</a:t>
            </a:r>
          </a:p>
        </p:txBody>
      </p:sp>
      <p:sp>
        <p:nvSpPr>
          <p:cNvPr id="6" name="Rectangle 5"/>
          <p:cNvSpPr/>
          <p:nvPr/>
        </p:nvSpPr>
        <p:spPr bwMode="white">
          <a:xfrm>
            <a:off x="1278225" y="1436904"/>
            <a:ext cx="932688" cy="93268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dirty="0">
              <a:solidFill>
                <a:prstClr val="white"/>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dirty="0">
              <a:solidFill>
                <a:prstClr val="white"/>
              </a:solidFill>
            </a:endParaRPr>
          </a:p>
        </p:txBody>
      </p:sp>
      <p:sp>
        <p:nvSpPr>
          <p:cNvPr id="11" name="Footer Placeholder 10"/>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Tree>
    <p:extLst>
      <p:ext uri="{BB962C8B-B14F-4D97-AF65-F5344CB8AC3E}">
        <p14:creationId xmlns:p14="http://schemas.microsoft.com/office/powerpoint/2010/main" val="38940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6ADB991-0467-4A06-B87D-04DFDA34146A}"/>
              </a:ext>
            </a:extLst>
          </p:cNvPr>
          <p:cNvGraphicFramePr>
            <a:graphicFrameLocks noChangeAspect="1"/>
          </p:cNvGraphicFramePr>
          <p:nvPr userDrawn="1">
            <p:custDataLst>
              <p:tags r:id="rId2"/>
            </p:custDataLst>
            <p:extLst>
              <p:ext uri="{D42A27DB-BD31-4B8C-83A1-F6EECF244321}">
                <p14:modId xmlns:p14="http://schemas.microsoft.com/office/powerpoint/2010/main" val="2046341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61B7B57-79DD-4480-B092-10FD928461D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hasCustomPrompt="1"/>
          </p:nvPr>
        </p:nvSpPr>
        <p:spPr bwMode="white">
          <a:xfrm>
            <a:off x="600701" y="3959179"/>
            <a:ext cx="10951885" cy="941796"/>
          </a:xfrm>
        </p:spPr>
        <p:txBody>
          <a:bodyPr anchor="t"/>
          <a:lstStyle>
            <a:lvl1pPr>
              <a:defRPr sz="6800">
                <a:solidFill>
                  <a:schemeClr val="bg1"/>
                </a:solidFill>
              </a:defRPr>
            </a:lvl1pPr>
          </a:lstStyle>
          <a:p>
            <a:r>
              <a:rPr lang="en-US" dirty="0"/>
              <a:t>Click to edit section title</a:t>
            </a:r>
          </a:p>
        </p:txBody>
      </p:sp>
      <p:cxnSp>
        <p:nvCxnSpPr>
          <p:cNvPr id="3" name="Straight Connector 2"/>
          <p:cNvCxnSpPr/>
          <p:nvPr/>
        </p:nvCxnSpPr>
        <p:spPr bwMode="white">
          <a:xfrm>
            <a:off x="633413" y="3717990"/>
            <a:ext cx="11558587" cy="0"/>
          </a:xfrm>
          <a:prstGeom prst="line">
            <a:avLst/>
          </a:prstGeom>
          <a:ln w="19050" cmpd="sng">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 name="Subtitle 2"/>
          <p:cNvSpPr>
            <a:spLocks noGrp="1"/>
          </p:cNvSpPr>
          <p:nvPr>
            <p:ph type="subTitle" idx="1"/>
          </p:nvPr>
        </p:nvSpPr>
        <p:spPr bwMode="white">
          <a:xfrm>
            <a:off x="630937" y="3285002"/>
            <a:ext cx="7217512" cy="292388"/>
          </a:xfrm>
        </p:spPr>
        <p:txBody>
          <a:bodyPr anchor="b"/>
          <a:lstStyle>
            <a:lvl1pPr marL="0" indent="0" algn="l">
              <a:lnSpc>
                <a:spcPct val="95000"/>
              </a:lnSpc>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dirty="0">
              <a:solidFill>
                <a:prstClr val="white"/>
              </a:solidFill>
            </a:endParaRPr>
          </a:p>
        </p:txBody>
      </p:sp>
      <p:sp>
        <p:nvSpPr>
          <p:cNvPr id="7" name="Footer Placeholder 6"/>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
        <p:nvSpPr>
          <p:cNvPr id="12" name="TextBox 11"/>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0" name="TextBox 9">
            <a:extLst>
              <a:ext uri="{FF2B5EF4-FFF2-40B4-BE49-F238E27FC236}">
                <a16:creationId xmlns:a16="http://schemas.microsoft.com/office/drawing/2014/main" id="{2DEC07D7-E966-4A2A-A3B0-47507EDA6994}"/>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363220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een half">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690638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803CD79-0C63-4AAA-996C-5ACC95CFDD11}"/>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6" name="Picture 5"/>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flipH="1">
            <a:off x="5682150" y="0"/>
            <a:ext cx="580573" cy="6858000"/>
          </a:xfrm>
          <a:prstGeom prst="rect">
            <a:avLst/>
          </a:prstGeom>
        </p:spPr>
      </p:pic>
      <p:sp>
        <p:nvSpPr>
          <p:cNvPr id="5" name="Rectangle 4"/>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9" name="Picture Placeholder 18"/>
          <p:cNvSpPr>
            <a:spLocks noGrp="1"/>
          </p:cNvSpPr>
          <p:nvPr>
            <p:ph type="pic" sz="quarter" idx="14" hasCustomPrompt="1"/>
          </p:nvPr>
        </p:nvSpPr>
        <p:spPr>
          <a:xfrm>
            <a:off x="6092021" y="0"/>
            <a:ext cx="6099977" cy="6858000"/>
          </a:xfrm>
          <a:solidFill>
            <a:srgbClr val="F2F2F2"/>
          </a:solidFill>
        </p:spPr>
        <p:txBody>
          <a:bodyPr lIns="914400" tIns="914400" rIns="914400" bIns="914400"/>
          <a:lstStyle>
            <a:lvl1pPr algn="ctr">
              <a:defRPr sz="1800" baseline="0">
                <a:latin typeface="+mn-lt"/>
              </a:defRPr>
            </a:lvl1pPr>
          </a:lstStyle>
          <a:p>
            <a:r>
              <a:rPr lang="en-US" dirty="0"/>
              <a:t>Click icon below to insert an image or remove this placeholder to use the white space in another way</a:t>
            </a:r>
          </a:p>
        </p:txBody>
      </p:sp>
      <p:sp>
        <p:nvSpPr>
          <p:cNvPr id="2" name="Title 1"/>
          <p:cNvSpPr>
            <a:spLocks noGrp="1"/>
          </p:cNvSpPr>
          <p:nvPr>
            <p:ph type="title"/>
          </p:nvPr>
        </p:nvSpPr>
        <p:spPr bwMode="ltGray">
          <a:xfrm>
            <a:off x="614083" y="1396508"/>
            <a:ext cx="4402991" cy="1994392"/>
          </a:xfrm>
          <a:noFill/>
        </p:spPr>
        <p:txBody>
          <a:bodyPr wrap="square" lIns="0" tIns="0" rIns="320040" bIns="0" anchor="b">
            <a:spAutoFit/>
          </a:bodyPr>
          <a:lstStyle>
            <a:lvl1pPr>
              <a:defRPr sz="4800">
                <a:solidFill>
                  <a:schemeClr val="bg1"/>
                </a:solidFill>
              </a:defRPr>
            </a:lvl1pPr>
          </a:lstStyle>
          <a:p>
            <a:r>
              <a:rPr lang="en-US"/>
              <a:t>Click to edit Master title style</a:t>
            </a:r>
            <a:endParaRPr lang="en-US" dirty="0"/>
          </a:p>
        </p:txBody>
      </p:sp>
      <p:sp>
        <p:nvSpPr>
          <p:cNvPr id="17" name="Text Placeholder 16"/>
          <p:cNvSpPr>
            <a:spLocks noGrp="1"/>
          </p:cNvSpPr>
          <p:nvPr>
            <p:ph type="body" sz="quarter" idx="12" hasCustomPrompt="1"/>
          </p:nvPr>
        </p:nvSpPr>
        <p:spPr bwMode="ltGray">
          <a:xfrm>
            <a:off x="627858" y="3633787"/>
            <a:ext cx="4396195" cy="263149"/>
          </a:xfrm>
          <a:noFill/>
        </p:spPr>
        <p:txBody>
          <a:bodyPr/>
          <a:lstStyle>
            <a:lvl1pPr>
              <a:lnSpc>
                <a:spcPct val="95000"/>
              </a:lnSpc>
              <a:spcAft>
                <a:spcPts val="1800"/>
              </a:spcAft>
              <a:buNone/>
              <a:defRPr sz="1800" baseline="0">
                <a:solidFill>
                  <a:schemeClr val="bg1"/>
                </a:solidFill>
                <a:latin typeface="+mn-lt"/>
              </a:defRPr>
            </a:lvl1pPr>
            <a:lvl2pPr>
              <a:buNone/>
              <a:defRPr>
                <a:solidFill>
                  <a:schemeClr val="bg1"/>
                </a:solidFill>
              </a:defRPr>
            </a:lvl2pPr>
            <a:lvl3pPr marL="0" indent="0">
              <a:buNone/>
              <a:defRPr>
                <a:solidFill>
                  <a:schemeClr val="bg1"/>
                </a:solidFill>
              </a:defRPr>
            </a:lvl3pPr>
            <a:lvl4pPr marL="228600" indent="0">
              <a:buNone/>
              <a:defRPr>
                <a:solidFill>
                  <a:schemeClr val="bg1"/>
                </a:solidFill>
              </a:defRPr>
            </a:lvl4pPr>
            <a:lvl5pPr marL="457200" indent="0">
              <a:buNone/>
              <a:defRPr>
                <a:solidFill>
                  <a:schemeClr val="bg1"/>
                </a:solidFill>
              </a:defRPr>
            </a:lvl5pPr>
          </a:lstStyle>
          <a:p>
            <a:pPr lvl="0"/>
            <a:r>
              <a:rPr lang="en-US" dirty="0"/>
              <a:t>Click to add sub-section</a:t>
            </a:r>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13" name="TextBox 12"/>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grpSp>
        <p:nvGrpSpPr>
          <p:cNvPr id="11" name="Group 10">
            <a:extLst>
              <a:ext uri="{FF2B5EF4-FFF2-40B4-BE49-F238E27FC236}">
                <a16:creationId xmlns:a16="http://schemas.microsoft.com/office/drawing/2014/main" id="{351440CA-89BB-486E-B8FD-9227AE9FB387}"/>
              </a:ext>
            </a:extLst>
          </p:cNvPr>
          <p:cNvGrpSpPr/>
          <p:nvPr userDrawn="1"/>
        </p:nvGrpSpPr>
        <p:grpSpPr>
          <a:xfrm>
            <a:off x="715793" y="6021288"/>
            <a:ext cx="507642" cy="598018"/>
            <a:chOff x="1186609" y="920554"/>
            <a:chExt cx="966811" cy="1138933"/>
          </a:xfrm>
          <a:solidFill>
            <a:schemeClr val="accent2"/>
          </a:solidFill>
        </p:grpSpPr>
        <p:sp>
          <p:nvSpPr>
            <p:cNvPr id="12" name="Freeform 4">
              <a:extLst>
                <a:ext uri="{FF2B5EF4-FFF2-40B4-BE49-F238E27FC236}">
                  <a16:creationId xmlns:a16="http://schemas.microsoft.com/office/drawing/2014/main" id="{DF85D936-F5DF-42AB-990E-228B80E8D642}"/>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sp>
          <p:nvSpPr>
            <p:cNvPr id="14" name="Freeform 5">
              <a:extLst>
                <a:ext uri="{FF2B5EF4-FFF2-40B4-BE49-F238E27FC236}">
                  <a16:creationId xmlns:a16="http://schemas.microsoft.com/office/drawing/2014/main" id="{33C247CE-1968-4FB7-9A6F-E3952BC635E3}"/>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grpSp>
      <p:sp>
        <p:nvSpPr>
          <p:cNvPr id="15" name="Rectangle 14">
            <a:extLst>
              <a:ext uri="{FF2B5EF4-FFF2-40B4-BE49-F238E27FC236}">
                <a16:creationId xmlns:a16="http://schemas.microsoft.com/office/drawing/2014/main" id="{49475D6A-434E-41E4-B85B-096C035B5A77}"/>
              </a:ext>
            </a:extLst>
          </p:cNvPr>
          <p:cNvSpPr/>
          <p:nvPr userDrawn="1"/>
        </p:nvSpPr>
        <p:spPr>
          <a:xfrm>
            <a:off x="1199456" y="6158726"/>
            <a:ext cx="1153298" cy="34412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r>
              <a:rPr lang="cs-CZ" sz="2000" b="1" dirty="0" err="1">
                <a:solidFill>
                  <a:srgbClr val="FFFFFF"/>
                </a:solidFill>
              </a:rPr>
              <a:t>GetReal</a:t>
            </a:r>
            <a:endParaRPr lang="en-GB" sz="2000" b="1" dirty="0">
              <a:solidFill>
                <a:srgbClr val="FFFFFF"/>
              </a:solidFill>
            </a:endParaRPr>
          </a:p>
        </p:txBody>
      </p:sp>
    </p:spTree>
    <p:extLst>
      <p:ext uri="{BB962C8B-B14F-4D97-AF65-F5344CB8AC3E}">
        <p14:creationId xmlns:p14="http://schemas.microsoft.com/office/powerpoint/2010/main" val="3552461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Green half">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75994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803CD79-0C63-4AAA-996C-5ACC95CFDD11}"/>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6" name="Picture 5"/>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flipH="1">
            <a:off x="6096000" y="0"/>
            <a:ext cx="580573" cy="6858000"/>
          </a:xfrm>
          <a:prstGeom prst="rect">
            <a:avLst/>
          </a:prstGeom>
        </p:spPr>
      </p:pic>
      <p:sp>
        <p:nvSpPr>
          <p:cNvPr id="19" name="Picture Placeholder 18"/>
          <p:cNvSpPr>
            <a:spLocks noGrp="1"/>
          </p:cNvSpPr>
          <p:nvPr>
            <p:ph type="pic" sz="quarter" idx="14" hasCustomPrompt="1"/>
          </p:nvPr>
        </p:nvSpPr>
        <p:spPr>
          <a:xfrm>
            <a:off x="6528048" y="0"/>
            <a:ext cx="5663950" cy="6858000"/>
          </a:xfrm>
          <a:solidFill>
            <a:srgbClr val="F2F2F2"/>
          </a:solidFill>
        </p:spPr>
        <p:txBody>
          <a:bodyPr lIns="914400" tIns="914400" rIns="914400" bIns="914400"/>
          <a:lstStyle>
            <a:lvl1pPr algn="ctr">
              <a:defRPr sz="1800" baseline="0">
                <a:latin typeface="+mn-lt"/>
              </a:defRPr>
            </a:lvl1pPr>
          </a:lstStyle>
          <a:p>
            <a:r>
              <a:rPr lang="en-US" dirty="0"/>
              <a:t>Click icon below to insert an image or remove this placeholder to use the white space in another way</a:t>
            </a:r>
          </a:p>
        </p:txBody>
      </p:sp>
      <p:sp>
        <p:nvSpPr>
          <p:cNvPr id="2" name="Title 1"/>
          <p:cNvSpPr>
            <a:spLocks noGrp="1"/>
          </p:cNvSpPr>
          <p:nvPr>
            <p:ph type="title"/>
          </p:nvPr>
        </p:nvSpPr>
        <p:spPr bwMode="ltGray">
          <a:xfrm>
            <a:off x="614083" y="1396508"/>
            <a:ext cx="4402991" cy="1994392"/>
          </a:xfrm>
          <a:noFill/>
        </p:spPr>
        <p:txBody>
          <a:bodyPr wrap="square" lIns="0" tIns="0" rIns="320040" bIns="0" anchor="b">
            <a:spAutoFit/>
          </a:bodyPr>
          <a:lstStyle>
            <a:lvl1pPr>
              <a:defRPr sz="4800">
                <a:solidFill>
                  <a:schemeClr val="bg1"/>
                </a:solidFill>
              </a:defRPr>
            </a:lvl1pPr>
          </a:lstStyle>
          <a:p>
            <a:r>
              <a:rPr lang="en-US"/>
              <a:t>Click to edit Master title style</a:t>
            </a:r>
            <a:endParaRPr lang="en-US" dirty="0"/>
          </a:p>
        </p:txBody>
      </p:sp>
      <p:sp>
        <p:nvSpPr>
          <p:cNvPr id="17" name="Text Placeholder 16"/>
          <p:cNvSpPr>
            <a:spLocks noGrp="1"/>
          </p:cNvSpPr>
          <p:nvPr>
            <p:ph type="body" sz="quarter" idx="12" hasCustomPrompt="1"/>
          </p:nvPr>
        </p:nvSpPr>
        <p:spPr bwMode="ltGray">
          <a:xfrm>
            <a:off x="627858" y="3633787"/>
            <a:ext cx="4396195" cy="263149"/>
          </a:xfrm>
          <a:noFill/>
        </p:spPr>
        <p:txBody>
          <a:bodyPr/>
          <a:lstStyle>
            <a:lvl1pPr>
              <a:lnSpc>
                <a:spcPct val="95000"/>
              </a:lnSpc>
              <a:spcAft>
                <a:spcPts val="1800"/>
              </a:spcAft>
              <a:buNone/>
              <a:defRPr sz="1800" baseline="0">
                <a:solidFill>
                  <a:schemeClr val="bg1"/>
                </a:solidFill>
                <a:latin typeface="+mn-lt"/>
              </a:defRPr>
            </a:lvl1pPr>
            <a:lvl2pPr>
              <a:buNone/>
              <a:defRPr>
                <a:solidFill>
                  <a:schemeClr val="bg1"/>
                </a:solidFill>
              </a:defRPr>
            </a:lvl2pPr>
            <a:lvl3pPr marL="0" indent="0">
              <a:buNone/>
              <a:defRPr>
                <a:solidFill>
                  <a:schemeClr val="bg1"/>
                </a:solidFill>
              </a:defRPr>
            </a:lvl3pPr>
            <a:lvl4pPr marL="228600" indent="0">
              <a:buNone/>
              <a:defRPr>
                <a:solidFill>
                  <a:schemeClr val="bg1"/>
                </a:solidFill>
              </a:defRPr>
            </a:lvl4pPr>
            <a:lvl5pPr marL="457200" indent="0">
              <a:buNone/>
              <a:defRPr>
                <a:solidFill>
                  <a:schemeClr val="bg1"/>
                </a:solidFill>
              </a:defRPr>
            </a:lvl5pPr>
          </a:lstStyle>
          <a:p>
            <a:pPr lvl="0"/>
            <a:r>
              <a:rPr lang="en-US" dirty="0"/>
              <a:t>Click to add sub-section</a:t>
            </a:r>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13" name="TextBox 12"/>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
        <p:nvSpPr>
          <p:cNvPr id="11" name="TextBox 10">
            <a:extLst>
              <a:ext uri="{FF2B5EF4-FFF2-40B4-BE49-F238E27FC236}">
                <a16:creationId xmlns:a16="http://schemas.microsoft.com/office/drawing/2014/main" id="{64E0075F-92D5-4214-AE1D-E2A9864D9949}"/>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552064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Green half">
    <p:bg bwMode="blackGray">
      <p:bgPr>
        <a:gradFill>
          <a:gsLst>
            <a:gs pos="0">
              <a:schemeClr val="bg2"/>
            </a:gs>
            <a:gs pos="100000">
              <a:schemeClr val="bg2">
                <a:lumMod val="20000"/>
                <a:lumOff val="80000"/>
              </a:schemeClr>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87517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110E52D-6C31-4FCC-87EC-FA1DDED093B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8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6" name="Picture 5"/>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flipH="1">
            <a:off x="5682150" y="0"/>
            <a:ext cx="580573" cy="6858000"/>
          </a:xfrm>
          <a:prstGeom prst="rect">
            <a:avLst/>
          </a:prstGeom>
        </p:spPr>
      </p:pic>
      <p:sp>
        <p:nvSpPr>
          <p:cNvPr id="5" name="Rectangle 4"/>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9" name="Picture Placeholder 18"/>
          <p:cNvSpPr>
            <a:spLocks noGrp="1"/>
          </p:cNvSpPr>
          <p:nvPr>
            <p:ph type="pic" sz="quarter" idx="14"/>
          </p:nvPr>
        </p:nvSpPr>
        <p:spPr>
          <a:xfrm>
            <a:off x="6092021" y="0"/>
            <a:ext cx="6099977" cy="6858000"/>
          </a:xfrm>
          <a:solidFill>
            <a:srgbClr val="FFFFFF"/>
          </a:solidFill>
          <a:ln/>
        </p:spPr>
        <p:txBody>
          <a:bodyPr lIns="914400" tIns="914400" rIns="914400" bIns="914400"/>
          <a:lstStyle>
            <a:lvl1pPr algn="ctr">
              <a:defRPr sz="1800" baseline="0">
                <a:latin typeface="+mn-lt"/>
              </a:defRPr>
            </a:lvl1pPr>
          </a:lstStyle>
          <a:p>
            <a:r>
              <a:rPr lang="en-US" dirty="0"/>
              <a:t>Click icon to add picture</a:t>
            </a:r>
          </a:p>
        </p:txBody>
      </p:sp>
      <p:sp>
        <p:nvSpPr>
          <p:cNvPr id="2" name="Title 1"/>
          <p:cNvSpPr>
            <a:spLocks noGrp="1"/>
          </p:cNvSpPr>
          <p:nvPr>
            <p:ph type="title"/>
          </p:nvPr>
        </p:nvSpPr>
        <p:spPr bwMode="ltGray">
          <a:xfrm>
            <a:off x="614083" y="2061305"/>
            <a:ext cx="4402991" cy="1329595"/>
          </a:xfrm>
          <a:noFill/>
        </p:spPr>
        <p:txBody>
          <a:bodyPr wrap="square" lIns="0" tIns="0" rIns="320040" bIns="0" anchor="b">
            <a:spAutoFit/>
          </a:bodyPr>
          <a:lstStyle>
            <a:lvl1pPr>
              <a:defRPr sz="4800">
                <a:solidFill>
                  <a:srgbClr val="000000"/>
                </a:solidFill>
              </a:defRPr>
            </a:lvl1pPr>
          </a:lstStyle>
          <a:p>
            <a:r>
              <a:rPr lang="en-US"/>
              <a:t>Click to edit Master title style</a:t>
            </a:r>
            <a:endParaRPr lang="en-US" dirty="0"/>
          </a:p>
        </p:txBody>
      </p:sp>
      <p:sp>
        <p:nvSpPr>
          <p:cNvPr id="17" name="Text Placeholder 16"/>
          <p:cNvSpPr>
            <a:spLocks noGrp="1"/>
          </p:cNvSpPr>
          <p:nvPr>
            <p:ph type="body" sz="quarter" idx="12" hasCustomPrompt="1"/>
          </p:nvPr>
        </p:nvSpPr>
        <p:spPr bwMode="ltGray">
          <a:xfrm>
            <a:off x="627858" y="3633787"/>
            <a:ext cx="4396195" cy="263149"/>
          </a:xfrm>
          <a:noFill/>
        </p:spPr>
        <p:txBody>
          <a:bodyPr/>
          <a:lstStyle>
            <a:lvl1pPr>
              <a:lnSpc>
                <a:spcPct val="95000"/>
              </a:lnSpc>
              <a:spcAft>
                <a:spcPts val="1800"/>
              </a:spcAft>
              <a:buNone/>
              <a:defRPr sz="1800" baseline="0">
                <a:solidFill>
                  <a:srgbClr val="000000"/>
                </a:solidFill>
                <a:latin typeface="+mn-lt"/>
              </a:defRPr>
            </a:lvl1pPr>
            <a:lvl2pPr>
              <a:buNone/>
              <a:defRPr>
                <a:solidFill>
                  <a:schemeClr val="bg1"/>
                </a:solidFill>
              </a:defRPr>
            </a:lvl2pPr>
            <a:lvl3pPr marL="0" indent="0">
              <a:buNone/>
              <a:defRPr>
                <a:solidFill>
                  <a:schemeClr val="bg1"/>
                </a:solidFill>
              </a:defRPr>
            </a:lvl3pPr>
            <a:lvl4pPr marL="228600" indent="0">
              <a:buNone/>
              <a:defRPr>
                <a:solidFill>
                  <a:schemeClr val="bg1"/>
                </a:solidFill>
              </a:defRPr>
            </a:lvl4pPr>
            <a:lvl5pPr marL="457200" indent="0">
              <a:buNone/>
              <a:defRPr>
                <a:solidFill>
                  <a:schemeClr val="bg1"/>
                </a:solidFill>
              </a:defRPr>
            </a:lvl5pPr>
          </a:lstStyle>
          <a:p>
            <a:pPr lvl="0"/>
            <a:r>
              <a:rPr lang="en-US" dirty="0"/>
              <a:t>Click to add sub-section</a:t>
            </a:r>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18"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dirty="0">
              <a:solidFill>
                <a:prstClr val="white">
                  <a:lumMod val="65000"/>
                </a:prstClr>
              </a:solidFill>
            </a:endParaRPr>
          </a:p>
        </p:txBody>
      </p:sp>
      <p:sp>
        <p:nvSpPr>
          <p:cNvPr id="13" name="TextBox 12"/>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Tree>
    <p:extLst>
      <p:ext uri="{BB962C8B-B14F-4D97-AF65-F5344CB8AC3E}">
        <p14:creationId xmlns:p14="http://schemas.microsoft.com/office/powerpoint/2010/main" val="1056859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Green two third">
    <p:bg bwMode="blackGray">
      <p:bgPr>
        <a:solidFill>
          <a:schemeClr val="bg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3DBBABC-9761-4DAC-A18E-0611F5AE925E}"/>
              </a:ext>
            </a:extLst>
          </p:cNvPr>
          <p:cNvGraphicFramePr>
            <a:graphicFrameLocks noChangeAspect="1"/>
          </p:cNvGraphicFramePr>
          <p:nvPr userDrawn="1">
            <p:custDataLst>
              <p:tags r:id="rId2"/>
            </p:custDataLst>
            <p:extLst>
              <p:ext uri="{D42A27DB-BD31-4B8C-83A1-F6EECF244321}">
                <p14:modId xmlns:p14="http://schemas.microsoft.com/office/powerpoint/2010/main" val="1494063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1E13153-639B-4BC6-BE2B-D8CA38DE2B8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 name="Picture Placeholder 5"/>
          <p:cNvSpPr>
            <a:spLocks noGrp="1"/>
          </p:cNvSpPr>
          <p:nvPr>
            <p:ph type="pic" sz="quarter" idx="11" hasCustomPrompt="1"/>
          </p:nvPr>
        </p:nvSpPr>
        <p:spPr>
          <a:xfrm>
            <a:off x="7820025" y="0"/>
            <a:ext cx="4371975" cy="6858000"/>
          </a:xfrm>
          <a:solidFill>
            <a:srgbClr val="F2F2F2"/>
          </a:solidFill>
        </p:spPr>
        <p:txBody>
          <a:bodyPr lIns="182880" tIns="914400" rIns="182880" bIns="914400"/>
          <a:lstStyle>
            <a:lvl1pPr algn="ctr">
              <a:defRPr sz="1600">
                <a:solidFill>
                  <a:schemeClr val="tx1"/>
                </a:solidFill>
                <a:latin typeface="+mn-lt"/>
              </a:defRPr>
            </a:lvl1pPr>
          </a:lstStyle>
          <a:p>
            <a:r>
              <a:rPr lang="en-US" dirty="0"/>
              <a:t>Click icon below to insert an image or remove this placeholder to use the white space in another way</a:t>
            </a:r>
          </a:p>
        </p:txBody>
      </p:sp>
      <p:pic>
        <p:nvPicPr>
          <p:cNvPr id="5" name="Picture 4"/>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a:off x="7638142" y="0"/>
            <a:ext cx="580573" cy="6858000"/>
          </a:xfrm>
          <a:prstGeom prst="rect">
            <a:avLst/>
          </a:prstGeom>
        </p:spPr>
      </p:pic>
      <p:sp>
        <p:nvSpPr>
          <p:cNvPr id="4" name="Rectangle 3"/>
          <p:cNvSpPr/>
          <p:nvPr/>
        </p:nvSpPr>
        <p:spPr bwMode="gray">
          <a:xfrm>
            <a:off x="0" y="0"/>
            <a:ext cx="7819543"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sp>
        <p:nvSpPr>
          <p:cNvPr id="3" name="Date Placeholder 2"/>
          <p:cNvSpPr>
            <a:spLocks noGrp="1"/>
          </p:cNvSpPr>
          <p:nvPr>
            <p:ph type="dt" sz="half" idx="12"/>
          </p:nvPr>
        </p:nvSpPr>
        <p:spPr/>
        <p:txBody>
          <a:bodyPr/>
          <a:lstStyle/>
          <a:p>
            <a:endParaRPr lang="en-US" dirty="0">
              <a:solidFill>
                <a:prstClr val="white">
                  <a:lumMod val="65000"/>
                </a:prstClr>
              </a:solidFill>
            </a:endParaRPr>
          </a:p>
        </p:txBody>
      </p:sp>
      <p:sp>
        <p:nvSpPr>
          <p:cNvPr id="7" name="Footer Placeholder 6"/>
          <p:cNvSpPr>
            <a:spLocks noGrp="1"/>
          </p:cNvSpPr>
          <p:nvPr>
            <p:ph type="ftr" sz="quarter" idx="13"/>
          </p:nvPr>
        </p:nvSpPr>
        <p:spPr/>
        <p:txBody>
          <a:bodyPr/>
          <a:lstStyle/>
          <a:p>
            <a:endParaRPr lang="en-US" dirty="0">
              <a:solidFill>
                <a:prstClr val="white">
                  <a:lumMod val="65000"/>
                </a:prstClr>
              </a:solidFill>
            </a:endParaRPr>
          </a:p>
        </p:txBody>
      </p:sp>
      <p:sp>
        <p:nvSpPr>
          <p:cNvPr id="2" name="Title 1"/>
          <p:cNvSpPr>
            <a:spLocks noGrp="1"/>
          </p:cNvSpPr>
          <p:nvPr>
            <p:ph type="title" hasCustomPrompt="1"/>
          </p:nvPr>
        </p:nvSpPr>
        <p:spPr bwMode="white">
          <a:xfrm>
            <a:off x="1257004" y="2176732"/>
            <a:ext cx="5646170" cy="609398"/>
          </a:xfrm>
        </p:spPr>
        <p:txBody>
          <a:bodyPr anchor="t"/>
          <a:lstStyle>
            <a:lvl1pPr>
              <a:defRPr sz="4400">
                <a:solidFill>
                  <a:schemeClr val="bg1"/>
                </a:solidFill>
              </a:defRPr>
            </a:lvl1pPr>
          </a:lstStyle>
          <a:p>
            <a:r>
              <a:rPr lang="en-US" dirty="0"/>
              <a:t>Click </a:t>
            </a:r>
            <a:r>
              <a:rPr lang="en-US"/>
              <a:t>to edit title</a:t>
            </a:r>
            <a:endParaRPr lang="en-US" dirty="0"/>
          </a:p>
        </p:txBody>
      </p:sp>
      <p:sp>
        <p:nvSpPr>
          <p:cNvPr id="72" name="Text Placeholder 71"/>
          <p:cNvSpPr>
            <a:spLocks noGrp="1"/>
          </p:cNvSpPr>
          <p:nvPr>
            <p:ph type="body" sz="quarter" idx="10"/>
          </p:nvPr>
        </p:nvSpPr>
        <p:spPr bwMode="white">
          <a:xfrm>
            <a:off x="1173007" y="1466914"/>
            <a:ext cx="2985834" cy="492443"/>
          </a:xfrm>
          <a:noFill/>
        </p:spPr>
        <p:txBody>
          <a:bodyPr lIns="91440" tIns="91440" rIns="91440" bIns="91440" anchor="b"/>
          <a:lstStyle>
            <a:lvl1pPr>
              <a:lnSpc>
                <a:spcPct val="100000"/>
              </a:lnSpc>
              <a:buNone/>
              <a:defRPr sz="2000">
                <a:solidFill>
                  <a:schemeClr val="bg1"/>
                </a:solidFill>
                <a:latin typeface="+mn-lt"/>
              </a:defRPr>
            </a:lvl1pPr>
            <a:lvl2pPr marL="0" indent="0">
              <a:buNone/>
              <a:defRPr>
                <a:solidFill>
                  <a:schemeClr val="bg1"/>
                </a:solidFill>
              </a:defRPr>
            </a:lvl2pPr>
            <a:lvl3pPr marL="220154" indent="0">
              <a:buNone/>
              <a:defRPr>
                <a:solidFill>
                  <a:schemeClr val="bg1"/>
                </a:solidFill>
              </a:defRPr>
            </a:lvl3pPr>
            <a:lvl4pPr>
              <a:buNone/>
              <a:defRPr>
                <a:solidFill>
                  <a:schemeClr val="bg1"/>
                </a:solidFill>
              </a:defRPr>
            </a:lvl4pPr>
            <a:lvl5pPr marL="457200" indent="0">
              <a:buNone/>
              <a:defRPr>
                <a:solidFill>
                  <a:schemeClr val="bg1"/>
                </a:solidFill>
              </a:defRPr>
            </a:lvl5pPr>
          </a:lstStyle>
          <a:p>
            <a:pPr lvl="0"/>
            <a:r>
              <a:rPr lang="en-US"/>
              <a:t>Edit Master text styles</a:t>
            </a:r>
          </a:p>
        </p:txBody>
      </p:sp>
      <p:sp>
        <p:nvSpPr>
          <p:cNvPr id="9" name="TextBox 8"/>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
        <p:nvSpPr>
          <p:cNvPr id="12" name="TextBox 11">
            <a:extLst>
              <a:ext uri="{FF2B5EF4-FFF2-40B4-BE49-F238E27FC236}">
                <a16:creationId xmlns:a16="http://schemas.microsoft.com/office/drawing/2014/main" id="{BD0563DE-CAF1-4702-BA49-D691FA7088C7}"/>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4556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Objective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6BA2171-A6D7-4C99-8E14-47CD98F6CFCB}"/>
              </a:ext>
            </a:extLst>
          </p:cNvPr>
          <p:cNvGraphicFramePr>
            <a:graphicFrameLocks noChangeAspect="1"/>
          </p:cNvGraphicFramePr>
          <p:nvPr userDrawn="1">
            <p:custDataLst>
              <p:tags r:id="rId2"/>
            </p:custDataLst>
            <p:extLst>
              <p:ext uri="{D42A27DB-BD31-4B8C-83A1-F6EECF244321}">
                <p14:modId xmlns:p14="http://schemas.microsoft.com/office/powerpoint/2010/main" val="3672835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EE0614-E976-456B-B21C-8F5B9A95D92D}"/>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4"/>
          <p:cNvSpPr>
            <a:spLocks noGrp="1"/>
          </p:cNvSpPr>
          <p:nvPr>
            <p:ph type="body" sz="quarter" idx="15" hasCustomPrompt="1"/>
          </p:nvPr>
        </p:nvSpPr>
        <p:spPr>
          <a:xfrm>
            <a:off x="7175951" y="2084384"/>
            <a:ext cx="4384707" cy="2206758"/>
          </a:xfrm>
        </p:spPr>
        <p:txBody>
          <a:bodyPr anchor="t">
            <a:spAutoFit/>
          </a:bodyPr>
          <a:lstStyle>
            <a:lvl1pP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defRPr>
                <a:solidFill>
                  <a:schemeClr val="bg1"/>
                </a:solidFill>
                <a:latin typeface="+mn-lt"/>
              </a:defRPr>
            </a:lvl4pPr>
            <a:lvl5pPr>
              <a:buClr>
                <a:schemeClr val="bg1"/>
              </a:buClr>
              <a:defRPr>
                <a:solidFill>
                  <a:schemeClr val="bg1"/>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9" name="Pentagon 8"/>
          <p:cNvSpPr/>
          <p:nvPr/>
        </p:nvSpPr>
        <p:spPr bwMode="blackGray">
          <a:xfrm>
            <a:off x="0" y="0"/>
            <a:ext cx="6363546" cy="6858000"/>
          </a:xfrm>
          <a:prstGeom prst="homePlate">
            <a:avLst>
              <a:gd name="adj" fmla="val 12939"/>
            </a:avLst>
          </a:prstGeom>
          <a:solidFill>
            <a:srgbClr val="FFFFFF"/>
          </a:solidFill>
          <a:ln w="10795" cap="flat" cmpd="sng" algn="ctr">
            <a:noFill/>
            <a:prstDash val="solid"/>
          </a:ln>
          <a:effectLst/>
          <a:extLst>
            <a:ext uri="{91240B29-F687-4F45-9708-019B960494DF}">
              <a14:hiddenLine xmlns:a14="http://schemas.microsoft.com/office/drawing/2010/main" w="10795"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5" name="Text Placeholder 4"/>
          <p:cNvSpPr>
            <a:spLocks noGrp="1"/>
          </p:cNvSpPr>
          <p:nvPr>
            <p:ph type="body" sz="quarter" idx="14"/>
          </p:nvPr>
        </p:nvSpPr>
        <p:spPr>
          <a:xfrm>
            <a:off x="633413" y="2084387"/>
            <a:ext cx="4384707"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a:xfrm>
            <a:off x="620364" y="498549"/>
            <a:ext cx="4403689" cy="941796"/>
          </a:xfrm>
        </p:spPr>
        <p:txBody>
          <a:bodyPr anchor="b"/>
          <a:lstStyle/>
          <a:p>
            <a:r>
              <a:rPr lang="en-US"/>
              <a:t>Click to edit Master title style</a:t>
            </a:r>
            <a:endParaRPr lang="en-US" dirty="0"/>
          </a:p>
        </p:txBody>
      </p:sp>
      <p:sp>
        <p:nvSpPr>
          <p:cNvPr id="8" name="Date Placeholder 7"/>
          <p:cNvSpPr>
            <a:spLocks noGrp="1"/>
          </p:cNvSpPr>
          <p:nvPr>
            <p:ph type="dt" sz="half" idx="16"/>
          </p:nvPr>
        </p:nvSpPr>
        <p:spPr/>
        <p:txBody>
          <a:bodyPr/>
          <a:lstStyle>
            <a:lvl1pPr>
              <a:defRPr>
                <a:solidFill>
                  <a:schemeClr val="bg1"/>
                </a:solidFill>
              </a:defRPr>
            </a:lvl1pPr>
          </a:lstStyle>
          <a:p>
            <a:endParaRPr lang="en-US" dirty="0">
              <a:solidFill>
                <a:prstClr val="white"/>
              </a:solidFill>
            </a:endParaRPr>
          </a:p>
        </p:txBody>
      </p:sp>
      <p:sp>
        <p:nvSpPr>
          <p:cNvPr id="10" name="Footer Placeholder 9"/>
          <p:cNvSpPr>
            <a:spLocks noGrp="1"/>
          </p:cNvSpPr>
          <p:nvPr>
            <p:ph type="ftr" sz="quarter" idx="17"/>
          </p:nvPr>
        </p:nvSpPr>
        <p:spPr/>
        <p:txBody>
          <a:bodyPr/>
          <a:lstStyle>
            <a:lvl1pPr>
              <a:defRPr>
                <a:solidFill>
                  <a:schemeClr val="bg1"/>
                </a:solidFill>
              </a:defRPr>
            </a:lvl1pPr>
          </a:lstStyle>
          <a:p>
            <a:endParaRPr lang="en-US" dirty="0">
              <a:solidFill>
                <a:prstClr val="white"/>
              </a:solidFill>
            </a:endParaRPr>
          </a:p>
        </p:txBody>
      </p:sp>
      <p:sp>
        <p:nvSpPr>
          <p:cNvPr id="16" name="TextBox 15"/>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Tree>
    <p:extLst>
      <p:ext uri="{BB962C8B-B14F-4D97-AF65-F5344CB8AC3E}">
        <p14:creationId xmlns:p14="http://schemas.microsoft.com/office/powerpoint/2010/main" val="3593486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059061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620364" y="586265"/>
            <a:ext cx="10917936" cy="854080"/>
          </a:xfrm>
        </p:spPr>
        <p:txBody>
          <a:bodyPr/>
          <a:lstStyle>
            <a:lvl1pPr>
              <a:defRPr>
                <a:solidFill>
                  <a:schemeClr val="tx2"/>
                </a:solidFill>
              </a:defRPr>
            </a:lvl1pPr>
          </a:lstStyle>
          <a:p>
            <a:r>
              <a:rPr lang="cs-CZ" dirty="0"/>
              <a:t>Nadpis</a:t>
            </a:r>
            <a:endParaRPr lang="en-US" dirty="0"/>
          </a:p>
        </p:txBody>
      </p:sp>
      <p:sp>
        <p:nvSpPr>
          <p:cNvPr id="3" name="Date Placeholder 2"/>
          <p:cNvSpPr>
            <a:spLocks noGrp="1"/>
          </p:cNvSpPr>
          <p:nvPr>
            <p:ph type="dt" sz="half" idx="10"/>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11"/>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1181331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Big idea arrow">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9754E6A-3253-4021-AE83-992E752ED8CF}"/>
              </a:ext>
            </a:extLst>
          </p:cNvPr>
          <p:cNvGraphicFramePr>
            <a:graphicFrameLocks noChangeAspect="1"/>
          </p:cNvGraphicFramePr>
          <p:nvPr userDrawn="1">
            <p:custDataLst>
              <p:tags r:id="rId2"/>
            </p:custDataLst>
            <p:extLst>
              <p:ext uri="{D42A27DB-BD31-4B8C-83A1-F6EECF244321}">
                <p14:modId xmlns:p14="http://schemas.microsoft.com/office/powerpoint/2010/main" val="2212260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C555AB-8E1A-4F5A-9A32-6AC501A13100}"/>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7" name="Picture 2" descr="C:\Users\haley\Desktop\Picture2.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4" name="Pentagon 3"/>
          <p:cNvSpPr/>
          <p:nvPr/>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 name="Title 1"/>
          <p:cNvSpPr>
            <a:spLocks noGrp="1"/>
          </p:cNvSpPr>
          <p:nvPr>
            <p:ph type="title"/>
          </p:nvPr>
        </p:nvSpPr>
        <p:spPr>
          <a:xfrm>
            <a:off x="612073" y="2456286"/>
            <a:ext cx="4062235" cy="1828193"/>
          </a:xfrm>
        </p:spPr>
        <p:txBody>
          <a:bodyPr anchor="ctr"/>
          <a:lstStyle>
            <a:lvl1pPr>
              <a:defRPr sz="4400" b="0">
                <a:solidFill>
                  <a:schemeClr val="tx2"/>
                </a:solidFill>
              </a:defRPr>
            </a:lvl1pPr>
          </a:lstStyle>
          <a:p>
            <a:r>
              <a:rPr lang="en-US"/>
              <a:t>Click to edit Master title style</a:t>
            </a:r>
            <a:endParaRPr lang="en-US" dirty="0"/>
          </a:p>
        </p:txBody>
      </p:sp>
      <p:sp>
        <p:nvSpPr>
          <p:cNvPr id="3" name="Text Placeholder 2"/>
          <p:cNvSpPr>
            <a:spLocks noGrp="1"/>
          </p:cNvSpPr>
          <p:nvPr>
            <p:ph type="body" sz="quarter" idx="10" hasCustomPrompt="1"/>
          </p:nvPr>
        </p:nvSpPr>
        <p:spPr>
          <a:xfrm>
            <a:off x="6248400" y="2255114"/>
            <a:ext cx="5320055" cy="2274982"/>
          </a:xfrm>
        </p:spPr>
        <p:txBody>
          <a:bodyPr anchor="ctr">
            <a:spAutoFit/>
          </a:bodyPr>
          <a:lstStyle>
            <a:lvl1pP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defRPr>
                <a:solidFill>
                  <a:schemeClr val="bg1"/>
                </a:solidFill>
                <a:latin typeface="+mn-lt"/>
              </a:defRPr>
            </a:lvl4pPr>
            <a:lvl5pPr>
              <a:buClr>
                <a:schemeClr val="bg1"/>
              </a:buClr>
              <a:defRPr>
                <a:solidFill>
                  <a:schemeClr val="bg1"/>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buNone/>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sz="half" idx="11"/>
          </p:nvPr>
        </p:nvSpPr>
        <p:spPr/>
        <p:txBody>
          <a:bodyPr/>
          <a:lstStyle>
            <a:lvl1pPr>
              <a:defRPr>
                <a:solidFill>
                  <a:schemeClr val="bg1"/>
                </a:solidFill>
              </a:defRPr>
            </a:lvl1pPr>
          </a:lstStyle>
          <a:p>
            <a:endParaRPr lang="en-US" dirty="0">
              <a:solidFill>
                <a:prstClr val="white"/>
              </a:solidFill>
            </a:endParaRPr>
          </a:p>
        </p:txBody>
      </p:sp>
      <p:sp>
        <p:nvSpPr>
          <p:cNvPr id="64" name="Footer Placeholder 63"/>
          <p:cNvSpPr>
            <a:spLocks noGrp="1"/>
          </p:cNvSpPr>
          <p:nvPr>
            <p:ph type="ftr" sz="quarter" idx="12"/>
          </p:nvPr>
        </p:nvSpPr>
        <p:spPr>
          <a:xfrm>
            <a:off x="5087888" y="6214797"/>
            <a:ext cx="4354898" cy="344128"/>
          </a:xfrm>
        </p:spPr>
        <p:txBody>
          <a:bodyPr/>
          <a:lstStyle>
            <a:lvl1pPr>
              <a:defRPr>
                <a:solidFill>
                  <a:schemeClr val="bg1"/>
                </a:solidFill>
              </a:defRPr>
            </a:lvl1pPr>
          </a:lstStyle>
          <a:p>
            <a:endParaRPr lang="en-US" dirty="0">
              <a:solidFill>
                <a:prstClr val="white"/>
              </a:solidFill>
            </a:endParaRPr>
          </a:p>
        </p:txBody>
      </p:sp>
      <p:sp>
        <p:nvSpPr>
          <p:cNvPr id="12" name="TextBox 11">
            <a:extLst>
              <a:ext uri="{FF2B5EF4-FFF2-40B4-BE49-F238E27FC236}">
                <a16:creationId xmlns:a16="http://schemas.microsoft.com/office/drawing/2014/main" id="{66F08D40-F717-41FF-AEE1-049CB77392E4}"/>
              </a:ext>
            </a:extLst>
          </p:cNvPr>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1" name="TextBox 10">
            <a:extLst>
              <a:ext uri="{FF2B5EF4-FFF2-40B4-BE49-F238E27FC236}">
                <a16:creationId xmlns:a16="http://schemas.microsoft.com/office/drawing/2014/main" id="{119599A4-5CA3-4069-8D66-7767D1620284}"/>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428509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331F34-F939-4B6C-ACB6-79BB3F87245A}"/>
              </a:ext>
            </a:extLst>
          </p:cNvPr>
          <p:cNvGraphicFramePr>
            <a:graphicFrameLocks noChangeAspect="1"/>
          </p:cNvGraphicFramePr>
          <p:nvPr userDrawn="1">
            <p:custDataLst>
              <p:tags r:id="rId2"/>
            </p:custDataLst>
            <p:extLst>
              <p:ext uri="{D42A27DB-BD31-4B8C-83A1-F6EECF244321}">
                <p14:modId xmlns:p14="http://schemas.microsoft.com/office/powerpoint/2010/main" val="2163792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3092E59-8928-4618-8412-9AD6875B038B}"/>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ts val="6000"/>
              </a:lnSpc>
              <a:spcBef>
                <a:spcPct val="0"/>
              </a:spcBef>
              <a:spcAft>
                <a:spcPct val="0"/>
              </a:spcAft>
            </a:pPr>
            <a:endParaRPr lang="en-US" sz="55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sp>
        <p:nvSpPr>
          <p:cNvPr id="2" name="Title 1"/>
          <p:cNvSpPr>
            <a:spLocks noGrp="1"/>
          </p:cNvSpPr>
          <p:nvPr>
            <p:ph type="title" hasCustomPrompt="1"/>
          </p:nvPr>
        </p:nvSpPr>
        <p:spPr>
          <a:xfrm>
            <a:off x="640080" y="4663440"/>
            <a:ext cx="10925093" cy="769441"/>
          </a:xfrm>
        </p:spPr>
        <p:txBody>
          <a:bodyPr anchor="b"/>
          <a:lstStyle>
            <a:lvl1pPr marL="0" algn="l" defTabSz="914400" rtl="0" eaLnBrk="1" fontAlgn="auto" latinLnBrk="0" hangingPunct="1">
              <a:lnSpc>
                <a:spcPts val="6000"/>
              </a:lnSpc>
              <a:spcBef>
                <a:spcPts val="0"/>
              </a:spcBef>
              <a:spcAft>
                <a:spcPts val="0"/>
              </a:spcAft>
              <a:defRPr lang="en-US" sz="5500" kern="1200" baseline="0" dirty="0">
                <a:solidFill>
                  <a:schemeClr val="bg1"/>
                </a:solidFill>
                <a:latin typeface="+mj-lt"/>
                <a:ea typeface="+mn-ea"/>
                <a:cs typeface="Arial" panose="020B0604020202020204" pitchFamily="34" charset="0"/>
              </a:defRPr>
            </a:lvl1pPr>
          </a:lstStyle>
          <a:p>
            <a:r>
              <a:rPr lang="en-US" dirty="0"/>
              <a:t>Click to edit big statement text</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Tree>
    <p:extLst>
      <p:ext uri="{BB962C8B-B14F-4D97-AF65-F5344CB8AC3E}">
        <p14:creationId xmlns:p14="http://schemas.microsoft.com/office/powerpoint/2010/main" val="1512271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ig statement icon">
    <p:bg bwMode="black">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7D45C11-B573-4481-90A4-2BC7FDF3F656}"/>
              </a:ext>
            </a:extLst>
          </p:cNvPr>
          <p:cNvGraphicFramePr>
            <a:graphicFrameLocks noChangeAspect="1"/>
          </p:cNvGraphicFramePr>
          <p:nvPr userDrawn="1">
            <p:custDataLst>
              <p:tags r:id="rId2"/>
            </p:custDataLst>
            <p:extLst>
              <p:ext uri="{D42A27DB-BD31-4B8C-83A1-F6EECF244321}">
                <p14:modId xmlns:p14="http://schemas.microsoft.com/office/powerpoint/2010/main" val="230665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E7930BB-37CC-4305-839C-773BC8AE458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ts val="6000"/>
              </a:lnSpc>
              <a:spcBef>
                <a:spcPct val="0"/>
              </a:spcBef>
              <a:spcAft>
                <a:spcPct val="0"/>
              </a:spcAft>
            </a:pPr>
            <a:endParaRPr lang="en-US" sz="55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sp>
        <p:nvSpPr>
          <p:cNvPr id="2" name="Title 1"/>
          <p:cNvSpPr>
            <a:spLocks noGrp="1"/>
          </p:cNvSpPr>
          <p:nvPr>
            <p:ph type="title" hasCustomPrompt="1"/>
          </p:nvPr>
        </p:nvSpPr>
        <p:spPr bwMode="white">
          <a:xfrm>
            <a:off x="640080" y="4663440"/>
            <a:ext cx="10925093" cy="769441"/>
          </a:xfrm>
        </p:spPr>
        <p:txBody>
          <a:bodyPr anchor="b"/>
          <a:lstStyle>
            <a:lvl1pPr marL="0" algn="l" defTabSz="914400" rtl="0" eaLnBrk="1" fontAlgn="auto" latinLnBrk="0" hangingPunct="1">
              <a:lnSpc>
                <a:spcPts val="6000"/>
              </a:lnSpc>
              <a:spcBef>
                <a:spcPts val="0"/>
              </a:spcBef>
              <a:spcAft>
                <a:spcPts val="0"/>
              </a:spcAft>
              <a:defRPr lang="en-US" sz="5500" kern="1200" baseline="0" dirty="0">
                <a:solidFill>
                  <a:schemeClr val="accent4"/>
                </a:solidFill>
                <a:latin typeface="+mj-lt"/>
                <a:ea typeface="+mn-ea"/>
                <a:cs typeface="Arial" panose="020B0604020202020204" pitchFamily="34" charset="0"/>
              </a:defRPr>
            </a:lvl1pPr>
          </a:lstStyle>
          <a:p>
            <a:r>
              <a:rPr lang="en-US" dirty="0"/>
              <a:t>Click to edit big statement text</a:t>
            </a:r>
          </a:p>
        </p:txBody>
      </p:sp>
      <p:sp>
        <p:nvSpPr>
          <p:cNvPr id="8" name="Rectangle 7"/>
          <p:cNvSpPr/>
          <p:nvPr/>
        </p:nvSpPr>
        <p:spPr bwMode="white">
          <a:xfrm>
            <a:off x="639764"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sp>
        <p:nvSpPr>
          <p:cNvPr id="3" name="Date Placeholder 2"/>
          <p:cNvSpPr>
            <a:spLocks noGrp="1"/>
          </p:cNvSpPr>
          <p:nvPr>
            <p:ph type="dt" sz="half" idx="10"/>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11"/>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65783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2A9941-CE12-4410-BA29-76B0E5806CA5}"/>
              </a:ext>
            </a:extLst>
          </p:cNvPr>
          <p:cNvGraphicFramePr>
            <a:graphicFrameLocks noChangeAspect="1"/>
          </p:cNvGraphicFramePr>
          <p:nvPr userDrawn="1">
            <p:custDataLst>
              <p:tags r:id="rId2"/>
            </p:custDataLst>
            <p:extLst>
              <p:ext uri="{D42A27DB-BD31-4B8C-83A1-F6EECF244321}">
                <p14:modId xmlns:p14="http://schemas.microsoft.com/office/powerpoint/2010/main" val="4009022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D502386-7541-475A-9DAC-084FC58D879F}"/>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4200" b="0" i="0" baseline="0" dirty="0">
              <a:solidFill>
                <a:schemeClr val="bg1"/>
              </a:solidFill>
              <a:latin typeface="BebasNeueRegular" panose="020B0606020202050201" pitchFamily="34" charset="0"/>
              <a:ea typeface="+mn-ea"/>
              <a:cs typeface="Arial" panose="020B0604020202020204" pitchFamily="34" charset="0"/>
              <a:sym typeface="BebasNeueRegular" panose="020B0606020202050201" pitchFamily="34" charset="0"/>
            </a:endParaRPr>
          </a:p>
        </p:txBody>
      </p:sp>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invGray">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gradFill flip="none" rotWithShape="1">
            <a:gsLst>
              <a:gs pos="12000">
                <a:schemeClr val="tx2"/>
              </a:gs>
              <a:gs pos="81000">
                <a:schemeClr val="accent2"/>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prstClr val="white"/>
              </a:solidFill>
            </a:endParaRPr>
          </a:p>
        </p:txBody>
      </p:sp>
      <p:sp>
        <p:nvSpPr>
          <p:cNvPr id="2" name="Title 1"/>
          <p:cNvSpPr>
            <a:spLocks noGrp="1"/>
          </p:cNvSpPr>
          <p:nvPr>
            <p:ph type="title" hasCustomPrompt="1"/>
          </p:nvPr>
        </p:nvSpPr>
        <p:spPr bwMode="white">
          <a:xfrm>
            <a:off x="615230" y="2190558"/>
            <a:ext cx="9721115" cy="2333223"/>
          </a:xfrm>
          <a:ln w="12700">
            <a:noFill/>
          </a:ln>
        </p:spPr>
        <p:txBody>
          <a:bodyPr lIns="0" tIns="0" rIns="0" bIns="0" anchor="b">
            <a:normAutofit/>
          </a:bodyPr>
          <a:lstStyle>
            <a:lvl1pPr marL="0" algn="l" defTabSz="914400" rtl="0" eaLnBrk="1" fontAlgn="auto" latinLnBrk="0" hangingPunct="1">
              <a:lnSpc>
                <a:spcPct val="100000"/>
              </a:lnSpc>
              <a:spcBef>
                <a:spcPts val="0"/>
              </a:spcBef>
              <a:spcAft>
                <a:spcPts val="0"/>
              </a:spcAft>
              <a:defRPr lang="en-US" sz="4200" kern="1200" baseline="0" dirty="0">
                <a:solidFill>
                  <a:schemeClr val="bg1"/>
                </a:solidFill>
                <a:latin typeface="+mj-lt"/>
                <a:ea typeface="+mn-ea"/>
                <a:cs typeface="Arial" panose="020B0604020202020204" pitchFamily="34" charset="0"/>
              </a:defRPr>
            </a:lvl1pPr>
          </a:lstStyle>
          <a:p>
            <a:r>
              <a:rPr lang="en-US" dirty="0"/>
              <a:t>Click to add a quote</a:t>
            </a:r>
          </a:p>
        </p:txBody>
      </p:sp>
      <p:sp>
        <p:nvSpPr>
          <p:cNvPr id="15" name="Text Placeholder 14"/>
          <p:cNvSpPr>
            <a:spLocks noGrp="1"/>
          </p:cNvSpPr>
          <p:nvPr>
            <p:ph type="body" sz="quarter" idx="11" hasCustomPrompt="1"/>
          </p:nvPr>
        </p:nvSpPr>
        <p:spPr>
          <a:xfrm>
            <a:off x="639044" y="5940377"/>
            <a:ext cx="6247307" cy="579829"/>
          </a:xfrm>
          <a:ln w="12700">
            <a:noFill/>
          </a:ln>
        </p:spPr>
        <p:txBody>
          <a:bodyPr lIns="0" tIns="0" rIns="0" bIns="0">
            <a:normAutofit/>
          </a:bodyPr>
          <a:lstStyle>
            <a:lvl1pPr>
              <a:buNone/>
              <a:defRPr sz="2000">
                <a:solidFill>
                  <a:schemeClr val="bg1"/>
                </a:solidFill>
                <a:latin typeface="+mn-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spTree>
    <p:extLst>
      <p:ext uri="{BB962C8B-B14F-4D97-AF65-F5344CB8AC3E}">
        <p14:creationId xmlns:p14="http://schemas.microsoft.com/office/powerpoint/2010/main" val="3417608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Quote box">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B283667-AEC7-4E7F-9D09-1D220F9E8F37}"/>
              </a:ext>
            </a:extLst>
          </p:cNvPr>
          <p:cNvGraphicFramePr>
            <a:graphicFrameLocks noChangeAspect="1"/>
          </p:cNvGraphicFramePr>
          <p:nvPr userDrawn="1">
            <p:custDataLst>
              <p:tags r:id="rId2"/>
            </p:custDataLst>
            <p:extLst>
              <p:ext uri="{D42A27DB-BD31-4B8C-83A1-F6EECF244321}">
                <p14:modId xmlns:p14="http://schemas.microsoft.com/office/powerpoint/2010/main" val="1666636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5"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2" hasCustomPrompt="1"/>
          </p:nvPr>
        </p:nvSpPr>
        <p:spPr>
          <a:xfrm>
            <a:off x="1247775" y="2067919"/>
            <a:ext cx="9665296" cy="3026664"/>
          </a:xfrm>
          <a:ln>
            <a:solidFill>
              <a:schemeClr val="bg1"/>
            </a:solidFill>
          </a:ln>
        </p:spPr>
        <p:txBody>
          <a:bodyPr lIns="182880" tIns="182880" rIns="182880" bIns="182880" anchor="ctr">
            <a:normAutofit/>
          </a:bodyPr>
          <a:lstStyle>
            <a:lvl1pPr>
              <a:lnSpc>
                <a:spcPct val="110000"/>
              </a:lnSpc>
              <a:buNone/>
              <a:defRPr sz="4400">
                <a:solidFill>
                  <a:schemeClr val="bg1"/>
                </a:solidFill>
                <a:latin typeface="+mj-lt"/>
              </a:defRPr>
            </a:lvl1pPr>
            <a:lvl2pPr marL="0" indent="0">
              <a:buNone/>
              <a:defRPr/>
            </a:lvl2pPr>
            <a:lvl3pPr marL="220154" indent="0">
              <a:buNone/>
              <a:defRPr/>
            </a:lvl3pPr>
            <a:lvl4pPr>
              <a:buNone/>
              <a:defRPr/>
            </a:lvl4pPr>
            <a:lvl5pPr marL="457200" indent="0">
              <a:buNone/>
              <a:defRPr/>
            </a:lvl5pPr>
          </a:lstStyle>
          <a:p>
            <a:pPr lvl="0"/>
            <a:r>
              <a:rPr lang="en-US" dirty="0"/>
              <a:t>Click to add a quote</a:t>
            </a:r>
          </a:p>
        </p:txBody>
      </p:sp>
      <p:sp>
        <p:nvSpPr>
          <p:cNvPr id="15" name="Text Placeholder 14"/>
          <p:cNvSpPr>
            <a:spLocks noGrp="1"/>
          </p:cNvSpPr>
          <p:nvPr>
            <p:ph type="body" sz="quarter" idx="11" hasCustomPrompt="1"/>
          </p:nvPr>
        </p:nvSpPr>
        <p:spPr>
          <a:xfrm>
            <a:off x="4368800" y="5278438"/>
            <a:ext cx="4967288" cy="877361"/>
          </a:xfrm>
          <a:ln w="9525">
            <a:solidFill>
              <a:schemeClr val="bg1"/>
            </a:solidFill>
          </a:ln>
        </p:spPr>
        <p:txBody>
          <a:bodyPr lIns="274320" tIns="0" rIns="274320" bIns="0" anchor="ctr">
            <a:normAutofit/>
          </a:bodyPr>
          <a:lstStyle>
            <a:lvl1pPr>
              <a:buNone/>
              <a:defRPr sz="2000">
                <a:solidFill>
                  <a:schemeClr val="bg1"/>
                </a:solidFill>
                <a:latin typeface="+mj-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grpSp>
        <p:nvGrpSpPr>
          <p:cNvPr id="19" name="Group 18"/>
          <p:cNvGrpSpPr/>
          <p:nvPr/>
        </p:nvGrpSpPr>
        <p:grpSpPr bwMode="black">
          <a:xfrm>
            <a:off x="2226051" y="875856"/>
            <a:ext cx="924043" cy="990201"/>
            <a:chOff x="3854826" y="875856"/>
            <a:chExt cx="924043" cy="990201"/>
          </a:xfrm>
        </p:grpSpPr>
        <p:sp>
          <p:nvSpPr>
            <p:cNvPr id="20" name="Freeform 5"/>
            <p:cNvSpPr>
              <a:spLocks noEditPoints="1"/>
            </p:cNvSpPr>
            <p:nvPr/>
          </p:nvSpPr>
          <p:spPr bwMode="black">
            <a:xfrm>
              <a:off x="4142657" y="1239077"/>
              <a:ext cx="348380" cy="263758"/>
            </a:xfrm>
            <a:custGeom>
              <a:avLst/>
              <a:gdLst>
                <a:gd name="T0" fmla="*/ 101 w 266"/>
                <a:gd name="T1" fmla="*/ 153 h 200"/>
                <a:gd name="T2" fmla="*/ 90 w 266"/>
                <a:gd name="T3" fmla="*/ 185 h 200"/>
                <a:gd name="T4" fmla="*/ 54 w 266"/>
                <a:gd name="T5" fmla="*/ 200 h 200"/>
                <a:gd name="T6" fmla="*/ 14 w 266"/>
                <a:gd name="T7" fmla="*/ 181 h 200"/>
                <a:gd name="T8" fmla="*/ 0 w 266"/>
                <a:gd name="T9" fmla="*/ 126 h 200"/>
                <a:gd name="T10" fmla="*/ 9 w 266"/>
                <a:gd name="T11" fmla="*/ 80 h 200"/>
                <a:gd name="T12" fmla="*/ 34 w 266"/>
                <a:gd name="T13" fmla="*/ 44 h 200"/>
                <a:gd name="T14" fmla="*/ 71 w 266"/>
                <a:gd name="T15" fmla="*/ 17 h 200"/>
                <a:gd name="T16" fmla="*/ 114 w 266"/>
                <a:gd name="T17" fmla="*/ 0 h 200"/>
                <a:gd name="T18" fmla="*/ 126 w 266"/>
                <a:gd name="T19" fmla="*/ 24 h 200"/>
                <a:gd name="T20" fmla="*/ 68 w 266"/>
                <a:gd name="T21" fmla="*/ 56 h 200"/>
                <a:gd name="T22" fmla="*/ 46 w 266"/>
                <a:gd name="T23" fmla="*/ 109 h 200"/>
                <a:gd name="T24" fmla="*/ 47 w 266"/>
                <a:gd name="T25" fmla="*/ 109 h 200"/>
                <a:gd name="T26" fmla="*/ 86 w 266"/>
                <a:gd name="T27" fmla="*/ 118 h 200"/>
                <a:gd name="T28" fmla="*/ 101 w 266"/>
                <a:gd name="T29" fmla="*/ 153 h 200"/>
                <a:gd name="T30" fmla="*/ 241 w 266"/>
                <a:gd name="T31" fmla="*/ 153 h 200"/>
                <a:gd name="T32" fmla="*/ 230 w 266"/>
                <a:gd name="T33" fmla="*/ 185 h 200"/>
                <a:gd name="T34" fmla="*/ 194 w 266"/>
                <a:gd name="T35" fmla="*/ 200 h 200"/>
                <a:gd name="T36" fmla="*/ 154 w 266"/>
                <a:gd name="T37" fmla="*/ 181 h 200"/>
                <a:gd name="T38" fmla="*/ 140 w 266"/>
                <a:gd name="T39" fmla="*/ 126 h 200"/>
                <a:gd name="T40" fmla="*/ 149 w 266"/>
                <a:gd name="T41" fmla="*/ 80 h 200"/>
                <a:gd name="T42" fmla="*/ 174 w 266"/>
                <a:gd name="T43" fmla="*/ 44 h 200"/>
                <a:gd name="T44" fmla="*/ 210 w 266"/>
                <a:gd name="T45" fmla="*/ 17 h 200"/>
                <a:gd name="T46" fmla="*/ 254 w 266"/>
                <a:gd name="T47" fmla="*/ 0 h 200"/>
                <a:gd name="T48" fmla="*/ 266 w 266"/>
                <a:gd name="T49" fmla="*/ 24 h 200"/>
                <a:gd name="T50" fmla="*/ 208 w 266"/>
                <a:gd name="T51" fmla="*/ 56 h 200"/>
                <a:gd name="T52" fmla="*/ 185 w 266"/>
                <a:gd name="T53" fmla="*/ 109 h 200"/>
                <a:gd name="T54" fmla="*/ 187 w 266"/>
                <a:gd name="T55" fmla="*/ 109 h 200"/>
                <a:gd name="T56" fmla="*/ 226 w 266"/>
                <a:gd name="T57" fmla="*/ 118 h 200"/>
                <a:gd name="T58" fmla="*/ 241 w 266"/>
                <a:gd name="T59"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200">
                  <a:moveTo>
                    <a:pt x="101" y="153"/>
                  </a:moveTo>
                  <a:cubicBezTo>
                    <a:pt x="101" y="164"/>
                    <a:pt x="98" y="175"/>
                    <a:pt x="90" y="185"/>
                  </a:cubicBezTo>
                  <a:cubicBezTo>
                    <a:pt x="83" y="195"/>
                    <a:pt x="71" y="200"/>
                    <a:pt x="54" y="200"/>
                  </a:cubicBezTo>
                  <a:cubicBezTo>
                    <a:pt x="37" y="200"/>
                    <a:pt x="24" y="193"/>
                    <a:pt x="14" y="181"/>
                  </a:cubicBezTo>
                  <a:cubicBezTo>
                    <a:pt x="5" y="168"/>
                    <a:pt x="0" y="150"/>
                    <a:pt x="0" y="126"/>
                  </a:cubicBezTo>
                  <a:cubicBezTo>
                    <a:pt x="0" y="109"/>
                    <a:pt x="3" y="94"/>
                    <a:pt x="9" y="80"/>
                  </a:cubicBezTo>
                  <a:cubicBezTo>
                    <a:pt x="15" y="66"/>
                    <a:pt x="24" y="54"/>
                    <a:pt x="34" y="44"/>
                  </a:cubicBezTo>
                  <a:cubicBezTo>
                    <a:pt x="45" y="33"/>
                    <a:pt x="57" y="24"/>
                    <a:pt x="71" y="17"/>
                  </a:cubicBezTo>
                  <a:cubicBezTo>
                    <a:pt x="84" y="9"/>
                    <a:pt x="99" y="4"/>
                    <a:pt x="114" y="0"/>
                  </a:cubicBezTo>
                  <a:cubicBezTo>
                    <a:pt x="126" y="24"/>
                    <a:pt x="126" y="24"/>
                    <a:pt x="126" y="24"/>
                  </a:cubicBezTo>
                  <a:cubicBezTo>
                    <a:pt x="103" y="32"/>
                    <a:pt x="84" y="43"/>
                    <a:pt x="68" y="56"/>
                  </a:cubicBezTo>
                  <a:cubicBezTo>
                    <a:pt x="53" y="70"/>
                    <a:pt x="46" y="88"/>
                    <a:pt x="46" y="109"/>
                  </a:cubicBezTo>
                  <a:cubicBezTo>
                    <a:pt x="47" y="109"/>
                    <a:pt x="47" y="109"/>
                    <a:pt x="47" y="109"/>
                  </a:cubicBezTo>
                  <a:cubicBezTo>
                    <a:pt x="63" y="109"/>
                    <a:pt x="76" y="112"/>
                    <a:pt x="86" y="118"/>
                  </a:cubicBezTo>
                  <a:cubicBezTo>
                    <a:pt x="96" y="125"/>
                    <a:pt x="101" y="136"/>
                    <a:pt x="101" y="153"/>
                  </a:cubicBezTo>
                  <a:close/>
                  <a:moveTo>
                    <a:pt x="241" y="153"/>
                  </a:moveTo>
                  <a:cubicBezTo>
                    <a:pt x="241" y="164"/>
                    <a:pt x="238" y="175"/>
                    <a:pt x="230" y="185"/>
                  </a:cubicBezTo>
                  <a:cubicBezTo>
                    <a:pt x="223" y="195"/>
                    <a:pt x="211" y="200"/>
                    <a:pt x="194" y="200"/>
                  </a:cubicBezTo>
                  <a:cubicBezTo>
                    <a:pt x="177" y="200"/>
                    <a:pt x="164" y="193"/>
                    <a:pt x="154" y="181"/>
                  </a:cubicBezTo>
                  <a:cubicBezTo>
                    <a:pt x="144" y="168"/>
                    <a:pt x="140" y="150"/>
                    <a:pt x="140" y="126"/>
                  </a:cubicBezTo>
                  <a:cubicBezTo>
                    <a:pt x="140" y="109"/>
                    <a:pt x="143" y="94"/>
                    <a:pt x="149" y="80"/>
                  </a:cubicBezTo>
                  <a:cubicBezTo>
                    <a:pt x="155" y="66"/>
                    <a:pt x="163" y="54"/>
                    <a:pt x="174" y="44"/>
                  </a:cubicBezTo>
                  <a:cubicBezTo>
                    <a:pt x="184" y="33"/>
                    <a:pt x="197" y="24"/>
                    <a:pt x="210" y="17"/>
                  </a:cubicBezTo>
                  <a:cubicBezTo>
                    <a:pt x="224" y="9"/>
                    <a:pt x="239" y="4"/>
                    <a:pt x="254" y="0"/>
                  </a:cubicBezTo>
                  <a:cubicBezTo>
                    <a:pt x="266" y="24"/>
                    <a:pt x="266" y="24"/>
                    <a:pt x="266" y="24"/>
                  </a:cubicBezTo>
                  <a:cubicBezTo>
                    <a:pt x="243" y="32"/>
                    <a:pt x="223" y="43"/>
                    <a:pt x="208" y="56"/>
                  </a:cubicBezTo>
                  <a:cubicBezTo>
                    <a:pt x="193" y="70"/>
                    <a:pt x="185" y="88"/>
                    <a:pt x="185" y="109"/>
                  </a:cubicBezTo>
                  <a:cubicBezTo>
                    <a:pt x="187" y="109"/>
                    <a:pt x="187" y="109"/>
                    <a:pt x="187" y="109"/>
                  </a:cubicBezTo>
                  <a:cubicBezTo>
                    <a:pt x="202" y="109"/>
                    <a:pt x="215" y="112"/>
                    <a:pt x="226" y="118"/>
                  </a:cubicBezTo>
                  <a:cubicBezTo>
                    <a:pt x="236" y="125"/>
                    <a:pt x="241" y="136"/>
                    <a:pt x="241" y="1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1" name="Rectangle 20"/>
            <p:cNvSpPr/>
            <p:nvPr/>
          </p:nvSpPr>
          <p:spPr bwMode="black">
            <a:xfrm>
              <a:off x="3854826" y="875856"/>
              <a:ext cx="924043" cy="9902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sp>
        <p:nvSpPr>
          <p:cNvPr id="8" name="TextBox 7"/>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Tree>
    <p:extLst>
      <p:ext uri="{BB962C8B-B14F-4D97-AF65-F5344CB8AC3E}">
        <p14:creationId xmlns:p14="http://schemas.microsoft.com/office/powerpoint/2010/main" val="3977619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1_Quote box">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FD060DB-6AC8-4A28-86B9-EA6C91BA1327}"/>
              </a:ext>
            </a:extLst>
          </p:cNvPr>
          <p:cNvGraphicFramePr>
            <a:graphicFrameLocks noChangeAspect="1"/>
          </p:cNvGraphicFramePr>
          <p:nvPr userDrawn="1">
            <p:custDataLst>
              <p:tags r:id="rId2"/>
            </p:custDataLst>
            <p:extLst>
              <p:ext uri="{D42A27DB-BD31-4B8C-83A1-F6EECF244321}">
                <p14:modId xmlns:p14="http://schemas.microsoft.com/office/powerpoint/2010/main" val="790418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9"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2" hasCustomPrompt="1"/>
          </p:nvPr>
        </p:nvSpPr>
        <p:spPr>
          <a:xfrm>
            <a:off x="1027340" y="2067919"/>
            <a:ext cx="4867275" cy="3026664"/>
          </a:xfrm>
          <a:ln>
            <a:solidFill>
              <a:schemeClr val="bg1"/>
            </a:solidFill>
          </a:ln>
        </p:spPr>
        <p:txBody>
          <a:bodyPr lIns="182880" tIns="182880" rIns="182880" bIns="182880" anchor="ctr">
            <a:normAutofit/>
          </a:bodyPr>
          <a:lstStyle>
            <a:lvl1pPr>
              <a:lnSpc>
                <a:spcPct val="110000"/>
              </a:lnSpc>
              <a:buNone/>
              <a:defRPr sz="4000">
                <a:solidFill>
                  <a:schemeClr val="bg1"/>
                </a:solidFill>
                <a:latin typeface="+mj-lt"/>
              </a:defRPr>
            </a:lvl1pPr>
            <a:lvl2pPr marL="0" indent="0">
              <a:buNone/>
              <a:defRPr/>
            </a:lvl2pPr>
            <a:lvl3pPr marL="220154" indent="0">
              <a:buNone/>
              <a:defRPr/>
            </a:lvl3pPr>
            <a:lvl4pPr>
              <a:buNone/>
              <a:defRPr/>
            </a:lvl4pPr>
            <a:lvl5pPr marL="457200" indent="0">
              <a:buNone/>
              <a:defRPr/>
            </a:lvl5pPr>
          </a:lstStyle>
          <a:p>
            <a:pPr lvl="0"/>
            <a:r>
              <a:rPr lang="en-US" dirty="0"/>
              <a:t>Click to add a quote</a:t>
            </a:r>
          </a:p>
        </p:txBody>
      </p:sp>
      <p:sp>
        <p:nvSpPr>
          <p:cNvPr id="15" name="Text Placeholder 14"/>
          <p:cNvSpPr>
            <a:spLocks noGrp="1"/>
          </p:cNvSpPr>
          <p:nvPr>
            <p:ph type="body" sz="quarter" idx="11" hasCustomPrompt="1"/>
          </p:nvPr>
        </p:nvSpPr>
        <p:spPr>
          <a:xfrm>
            <a:off x="1391107" y="5278438"/>
            <a:ext cx="2501440" cy="877361"/>
          </a:xfrm>
          <a:ln w="9525">
            <a:solidFill>
              <a:schemeClr val="bg1"/>
            </a:solidFill>
          </a:ln>
        </p:spPr>
        <p:txBody>
          <a:bodyPr lIns="274320" tIns="0" rIns="274320" bIns="0" anchor="ctr">
            <a:normAutofit/>
          </a:bodyPr>
          <a:lstStyle>
            <a:lvl1pPr>
              <a:buNone/>
              <a:defRPr sz="1800">
                <a:solidFill>
                  <a:schemeClr val="bg1"/>
                </a:solidFill>
                <a:latin typeface="+mj-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grpSp>
        <p:nvGrpSpPr>
          <p:cNvPr id="19" name="Group 18"/>
          <p:cNvGrpSpPr/>
          <p:nvPr/>
        </p:nvGrpSpPr>
        <p:grpSpPr bwMode="black">
          <a:xfrm>
            <a:off x="2005616" y="875856"/>
            <a:ext cx="924043" cy="990201"/>
            <a:chOff x="3854826" y="875856"/>
            <a:chExt cx="924043" cy="990201"/>
          </a:xfrm>
        </p:grpSpPr>
        <p:sp>
          <p:nvSpPr>
            <p:cNvPr id="20" name="Freeform 5"/>
            <p:cNvSpPr>
              <a:spLocks noEditPoints="1"/>
            </p:cNvSpPr>
            <p:nvPr/>
          </p:nvSpPr>
          <p:spPr bwMode="black">
            <a:xfrm>
              <a:off x="4142657" y="1239077"/>
              <a:ext cx="348380" cy="263758"/>
            </a:xfrm>
            <a:custGeom>
              <a:avLst/>
              <a:gdLst>
                <a:gd name="T0" fmla="*/ 101 w 266"/>
                <a:gd name="T1" fmla="*/ 153 h 200"/>
                <a:gd name="T2" fmla="*/ 90 w 266"/>
                <a:gd name="T3" fmla="*/ 185 h 200"/>
                <a:gd name="T4" fmla="*/ 54 w 266"/>
                <a:gd name="T5" fmla="*/ 200 h 200"/>
                <a:gd name="T6" fmla="*/ 14 w 266"/>
                <a:gd name="T7" fmla="*/ 181 h 200"/>
                <a:gd name="T8" fmla="*/ 0 w 266"/>
                <a:gd name="T9" fmla="*/ 126 h 200"/>
                <a:gd name="T10" fmla="*/ 9 w 266"/>
                <a:gd name="T11" fmla="*/ 80 h 200"/>
                <a:gd name="T12" fmla="*/ 34 w 266"/>
                <a:gd name="T13" fmla="*/ 44 h 200"/>
                <a:gd name="T14" fmla="*/ 71 w 266"/>
                <a:gd name="T15" fmla="*/ 17 h 200"/>
                <a:gd name="T16" fmla="*/ 114 w 266"/>
                <a:gd name="T17" fmla="*/ 0 h 200"/>
                <a:gd name="T18" fmla="*/ 126 w 266"/>
                <a:gd name="T19" fmla="*/ 24 h 200"/>
                <a:gd name="T20" fmla="*/ 68 w 266"/>
                <a:gd name="T21" fmla="*/ 56 h 200"/>
                <a:gd name="T22" fmla="*/ 46 w 266"/>
                <a:gd name="T23" fmla="*/ 109 h 200"/>
                <a:gd name="T24" fmla="*/ 47 w 266"/>
                <a:gd name="T25" fmla="*/ 109 h 200"/>
                <a:gd name="T26" fmla="*/ 86 w 266"/>
                <a:gd name="T27" fmla="*/ 118 h 200"/>
                <a:gd name="T28" fmla="*/ 101 w 266"/>
                <a:gd name="T29" fmla="*/ 153 h 200"/>
                <a:gd name="T30" fmla="*/ 241 w 266"/>
                <a:gd name="T31" fmla="*/ 153 h 200"/>
                <a:gd name="T32" fmla="*/ 230 w 266"/>
                <a:gd name="T33" fmla="*/ 185 h 200"/>
                <a:gd name="T34" fmla="*/ 194 w 266"/>
                <a:gd name="T35" fmla="*/ 200 h 200"/>
                <a:gd name="T36" fmla="*/ 154 w 266"/>
                <a:gd name="T37" fmla="*/ 181 h 200"/>
                <a:gd name="T38" fmla="*/ 140 w 266"/>
                <a:gd name="T39" fmla="*/ 126 h 200"/>
                <a:gd name="T40" fmla="*/ 149 w 266"/>
                <a:gd name="T41" fmla="*/ 80 h 200"/>
                <a:gd name="T42" fmla="*/ 174 w 266"/>
                <a:gd name="T43" fmla="*/ 44 h 200"/>
                <a:gd name="T44" fmla="*/ 210 w 266"/>
                <a:gd name="T45" fmla="*/ 17 h 200"/>
                <a:gd name="T46" fmla="*/ 254 w 266"/>
                <a:gd name="T47" fmla="*/ 0 h 200"/>
                <a:gd name="T48" fmla="*/ 266 w 266"/>
                <a:gd name="T49" fmla="*/ 24 h 200"/>
                <a:gd name="T50" fmla="*/ 208 w 266"/>
                <a:gd name="T51" fmla="*/ 56 h 200"/>
                <a:gd name="T52" fmla="*/ 185 w 266"/>
                <a:gd name="T53" fmla="*/ 109 h 200"/>
                <a:gd name="T54" fmla="*/ 187 w 266"/>
                <a:gd name="T55" fmla="*/ 109 h 200"/>
                <a:gd name="T56" fmla="*/ 226 w 266"/>
                <a:gd name="T57" fmla="*/ 118 h 200"/>
                <a:gd name="T58" fmla="*/ 241 w 266"/>
                <a:gd name="T59"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200">
                  <a:moveTo>
                    <a:pt x="101" y="153"/>
                  </a:moveTo>
                  <a:cubicBezTo>
                    <a:pt x="101" y="164"/>
                    <a:pt x="98" y="175"/>
                    <a:pt x="90" y="185"/>
                  </a:cubicBezTo>
                  <a:cubicBezTo>
                    <a:pt x="83" y="195"/>
                    <a:pt x="71" y="200"/>
                    <a:pt x="54" y="200"/>
                  </a:cubicBezTo>
                  <a:cubicBezTo>
                    <a:pt x="37" y="200"/>
                    <a:pt x="24" y="193"/>
                    <a:pt x="14" y="181"/>
                  </a:cubicBezTo>
                  <a:cubicBezTo>
                    <a:pt x="5" y="168"/>
                    <a:pt x="0" y="150"/>
                    <a:pt x="0" y="126"/>
                  </a:cubicBezTo>
                  <a:cubicBezTo>
                    <a:pt x="0" y="109"/>
                    <a:pt x="3" y="94"/>
                    <a:pt x="9" y="80"/>
                  </a:cubicBezTo>
                  <a:cubicBezTo>
                    <a:pt x="15" y="66"/>
                    <a:pt x="24" y="54"/>
                    <a:pt x="34" y="44"/>
                  </a:cubicBezTo>
                  <a:cubicBezTo>
                    <a:pt x="45" y="33"/>
                    <a:pt x="57" y="24"/>
                    <a:pt x="71" y="17"/>
                  </a:cubicBezTo>
                  <a:cubicBezTo>
                    <a:pt x="84" y="9"/>
                    <a:pt x="99" y="4"/>
                    <a:pt x="114" y="0"/>
                  </a:cubicBezTo>
                  <a:cubicBezTo>
                    <a:pt x="126" y="24"/>
                    <a:pt x="126" y="24"/>
                    <a:pt x="126" y="24"/>
                  </a:cubicBezTo>
                  <a:cubicBezTo>
                    <a:pt x="103" y="32"/>
                    <a:pt x="84" y="43"/>
                    <a:pt x="68" y="56"/>
                  </a:cubicBezTo>
                  <a:cubicBezTo>
                    <a:pt x="53" y="70"/>
                    <a:pt x="46" y="88"/>
                    <a:pt x="46" y="109"/>
                  </a:cubicBezTo>
                  <a:cubicBezTo>
                    <a:pt x="47" y="109"/>
                    <a:pt x="47" y="109"/>
                    <a:pt x="47" y="109"/>
                  </a:cubicBezTo>
                  <a:cubicBezTo>
                    <a:pt x="63" y="109"/>
                    <a:pt x="76" y="112"/>
                    <a:pt x="86" y="118"/>
                  </a:cubicBezTo>
                  <a:cubicBezTo>
                    <a:pt x="96" y="125"/>
                    <a:pt x="101" y="136"/>
                    <a:pt x="101" y="153"/>
                  </a:cubicBezTo>
                  <a:close/>
                  <a:moveTo>
                    <a:pt x="241" y="153"/>
                  </a:moveTo>
                  <a:cubicBezTo>
                    <a:pt x="241" y="164"/>
                    <a:pt x="238" y="175"/>
                    <a:pt x="230" y="185"/>
                  </a:cubicBezTo>
                  <a:cubicBezTo>
                    <a:pt x="223" y="195"/>
                    <a:pt x="211" y="200"/>
                    <a:pt x="194" y="200"/>
                  </a:cubicBezTo>
                  <a:cubicBezTo>
                    <a:pt x="177" y="200"/>
                    <a:pt x="164" y="193"/>
                    <a:pt x="154" y="181"/>
                  </a:cubicBezTo>
                  <a:cubicBezTo>
                    <a:pt x="144" y="168"/>
                    <a:pt x="140" y="150"/>
                    <a:pt x="140" y="126"/>
                  </a:cubicBezTo>
                  <a:cubicBezTo>
                    <a:pt x="140" y="109"/>
                    <a:pt x="143" y="94"/>
                    <a:pt x="149" y="80"/>
                  </a:cubicBezTo>
                  <a:cubicBezTo>
                    <a:pt x="155" y="66"/>
                    <a:pt x="163" y="54"/>
                    <a:pt x="174" y="44"/>
                  </a:cubicBezTo>
                  <a:cubicBezTo>
                    <a:pt x="184" y="33"/>
                    <a:pt x="197" y="24"/>
                    <a:pt x="210" y="17"/>
                  </a:cubicBezTo>
                  <a:cubicBezTo>
                    <a:pt x="224" y="9"/>
                    <a:pt x="239" y="4"/>
                    <a:pt x="254" y="0"/>
                  </a:cubicBezTo>
                  <a:cubicBezTo>
                    <a:pt x="266" y="24"/>
                    <a:pt x="266" y="24"/>
                    <a:pt x="266" y="24"/>
                  </a:cubicBezTo>
                  <a:cubicBezTo>
                    <a:pt x="243" y="32"/>
                    <a:pt x="223" y="43"/>
                    <a:pt x="208" y="56"/>
                  </a:cubicBezTo>
                  <a:cubicBezTo>
                    <a:pt x="193" y="70"/>
                    <a:pt x="185" y="88"/>
                    <a:pt x="185" y="109"/>
                  </a:cubicBezTo>
                  <a:cubicBezTo>
                    <a:pt x="187" y="109"/>
                    <a:pt x="187" y="109"/>
                    <a:pt x="187" y="109"/>
                  </a:cubicBezTo>
                  <a:cubicBezTo>
                    <a:pt x="202" y="109"/>
                    <a:pt x="215" y="112"/>
                    <a:pt x="226" y="118"/>
                  </a:cubicBezTo>
                  <a:cubicBezTo>
                    <a:pt x="236" y="125"/>
                    <a:pt x="241" y="136"/>
                    <a:pt x="241" y="1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1" name="Rectangle 20"/>
            <p:cNvSpPr/>
            <p:nvPr/>
          </p:nvSpPr>
          <p:spPr bwMode="black">
            <a:xfrm>
              <a:off x="3854826" y="875856"/>
              <a:ext cx="924043" cy="9902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sp>
        <p:nvSpPr>
          <p:cNvPr id="8" name="TextBox 7"/>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9" name="Text Placeholder 3"/>
          <p:cNvSpPr>
            <a:spLocks noGrp="1"/>
          </p:cNvSpPr>
          <p:nvPr>
            <p:ph type="body" sz="quarter" idx="13" hasCustomPrompt="1"/>
          </p:nvPr>
        </p:nvSpPr>
        <p:spPr>
          <a:xfrm>
            <a:off x="6301467" y="2067919"/>
            <a:ext cx="4867275" cy="3026664"/>
          </a:xfrm>
          <a:ln>
            <a:solidFill>
              <a:schemeClr val="bg1"/>
            </a:solidFill>
          </a:ln>
        </p:spPr>
        <p:txBody>
          <a:bodyPr lIns="182880" tIns="182880" rIns="182880" bIns="182880" anchor="ctr">
            <a:normAutofit/>
          </a:bodyPr>
          <a:lstStyle>
            <a:lvl1pPr>
              <a:lnSpc>
                <a:spcPct val="110000"/>
              </a:lnSpc>
              <a:buNone/>
              <a:defRPr sz="4000">
                <a:solidFill>
                  <a:schemeClr val="bg1"/>
                </a:solidFill>
                <a:latin typeface="+mj-lt"/>
              </a:defRPr>
            </a:lvl1pPr>
            <a:lvl2pPr marL="0" indent="0">
              <a:buNone/>
              <a:defRPr/>
            </a:lvl2pPr>
            <a:lvl3pPr marL="220154" indent="0">
              <a:buNone/>
              <a:defRPr/>
            </a:lvl3pPr>
            <a:lvl4pPr>
              <a:buNone/>
              <a:defRPr/>
            </a:lvl4pPr>
            <a:lvl5pPr marL="457200" indent="0">
              <a:buNone/>
              <a:defRPr/>
            </a:lvl5pPr>
          </a:lstStyle>
          <a:p>
            <a:pPr lvl="0"/>
            <a:r>
              <a:rPr lang="en-US" dirty="0"/>
              <a:t>Click to add a quote</a:t>
            </a:r>
          </a:p>
        </p:txBody>
      </p:sp>
      <p:sp>
        <p:nvSpPr>
          <p:cNvPr id="10" name="Text Placeholder 14"/>
          <p:cNvSpPr>
            <a:spLocks noGrp="1"/>
          </p:cNvSpPr>
          <p:nvPr>
            <p:ph type="body" sz="quarter" idx="14" hasCustomPrompt="1"/>
          </p:nvPr>
        </p:nvSpPr>
        <p:spPr>
          <a:xfrm>
            <a:off x="6662963" y="5278438"/>
            <a:ext cx="2501440" cy="877361"/>
          </a:xfrm>
          <a:ln w="9525">
            <a:solidFill>
              <a:schemeClr val="bg1"/>
            </a:solidFill>
          </a:ln>
        </p:spPr>
        <p:txBody>
          <a:bodyPr lIns="274320" tIns="0" rIns="274320" bIns="0" anchor="ctr">
            <a:normAutofit/>
          </a:bodyPr>
          <a:lstStyle>
            <a:lvl1pPr>
              <a:buNone/>
              <a:defRPr sz="1800">
                <a:solidFill>
                  <a:schemeClr val="bg1"/>
                </a:solidFill>
                <a:latin typeface="+mj-lt"/>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grpSp>
        <p:nvGrpSpPr>
          <p:cNvPr id="11" name="Group 10"/>
          <p:cNvGrpSpPr/>
          <p:nvPr userDrawn="1"/>
        </p:nvGrpSpPr>
        <p:grpSpPr bwMode="black">
          <a:xfrm>
            <a:off x="9451444" y="875856"/>
            <a:ext cx="924043" cy="990201"/>
            <a:chOff x="3854826" y="875856"/>
            <a:chExt cx="924043" cy="990201"/>
          </a:xfrm>
        </p:grpSpPr>
        <p:sp>
          <p:nvSpPr>
            <p:cNvPr id="12" name="Freeform 5"/>
            <p:cNvSpPr>
              <a:spLocks noEditPoints="1"/>
            </p:cNvSpPr>
            <p:nvPr/>
          </p:nvSpPr>
          <p:spPr bwMode="black">
            <a:xfrm>
              <a:off x="4142657" y="1239077"/>
              <a:ext cx="348380" cy="263758"/>
            </a:xfrm>
            <a:custGeom>
              <a:avLst/>
              <a:gdLst>
                <a:gd name="T0" fmla="*/ 101 w 266"/>
                <a:gd name="T1" fmla="*/ 153 h 200"/>
                <a:gd name="T2" fmla="*/ 90 w 266"/>
                <a:gd name="T3" fmla="*/ 185 h 200"/>
                <a:gd name="T4" fmla="*/ 54 w 266"/>
                <a:gd name="T5" fmla="*/ 200 h 200"/>
                <a:gd name="T6" fmla="*/ 14 w 266"/>
                <a:gd name="T7" fmla="*/ 181 h 200"/>
                <a:gd name="T8" fmla="*/ 0 w 266"/>
                <a:gd name="T9" fmla="*/ 126 h 200"/>
                <a:gd name="T10" fmla="*/ 9 w 266"/>
                <a:gd name="T11" fmla="*/ 80 h 200"/>
                <a:gd name="T12" fmla="*/ 34 w 266"/>
                <a:gd name="T13" fmla="*/ 44 h 200"/>
                <a:gd name="T14" fmla="*/ 71 w 266"/>
                <a:gd name="T15" fmla="*/ 17 h 200"/>
                <a:gd name="T16" fmla="*/ 114 w 266"/>
                <a:gd name="T17" fmla="*/ 0 h 200"/>
                <a:gd name="T18" fmla="*/ 126 w 266"/>
                <a:gd name="T19" fmla="*/ 24 h 200"/>
                <a:gd name="T20" fmla="*/ 68 w 266"/>
                <a:gd name="T21" fmla="*/ 56 h 200"/>
                <a:gd name="T22" fmla="*/ 46 w 266"/>
                <a:gd name="T23" fmla="*/ 109 h 200"/>
                <a:gd name="T24" fmla="*/ 47 w 266"/>
                <a:gd name="T25" fmla="*/ 109 h 200"/>
                <a:gd name="T26" fmla="*/ 86 w 266"/>
                <a:gd name="T27" fmla="*/ 118 h 200"/>
                <a:gd name="T28" fmla="*/ 101 w 266"/>
                <a:gd name="T29" fmla="*/ 153 h 200"/>
                <a:gd name="T30" fmla="*/ 241 w 266"/>
                <a:gd name="T31" fmla="*/ 153 h 200"/>
                <a:gd name="T32" fmla="*/ 230 w 266"/>
                <a:gd name="T33" fmla="*/ 185 h 200"/>
                <a:gd name="T34" fmla="*/ 194 w 266"/>
                <a:gd name="T35" fmla="*/ 200 h 200"/>
                <a:gd name="T36" fmla="*/ 154 w 266"/>
                <a:gd name="T37" fmla="*/ 181 h 200"/>
                <a:gd name="T38" fmla="*/ 140 w 266"/>
                <a:gd name="T39" fmla="*/ 126 h 200"/>
                <a:gd name="T40" fmla="*/ 149 w 266"/>
                <a:gd name="T41" fmla="*/ 80 h 200"/>
                <a:gd name="T42" fmla="*/ 174 w 266"/>
                <a:gd name="T43" fmla="*/ 44 h 200"/>
                <a:gd name="T44" fmla="*/ 210 w 266"/>
                <a:gd name="T45" fmla="*/ 17 h 200"/>
                <a:gd name="T46" fmla="*/ 254 w 266"/>
                <a:gd name="T47" fmla="*/ 0 h 200"/>
                <a:gd name="T48" fmla="*/ 266 w 266"/>
                <a:gd name="T49" fmla="*/ 24 h 200"/>
                <a:gd name="T50" fmla="*/ 208 w 266"/>
                <a:gd name="T51" fmla="*/ 56 h 200"/>
                <a:gd name="T52" fmla="*/ 185 w 266"/>
                <a:gd name="T53" fmla="*/ 109 h 200"/>
                <a:gd name="T54" fmla="*/ 187 w 266"/>
                <a:gd name="T55" fmla="*/ 109 h 200"/>
                <a:gd name="T56" fmla="*/ 226 w 266"/>
                <a:gd name="T57" fmla="*/ 118 h 200"/>
                <a:gd name="T58" fmla="*/ 241 w 266"/>
                <a:gd name="T59"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200">
                  <a:moveTo>
                    <a:pt x="101" y="153"/>
                  </a:moveTo>
                  <a:cubicBezTo>
                    <a:pt x="101" y="164"/>
                    <a:pt x="98" y="175"/>
                    <a:pt x="90" y="185"/>
                  </a:cubicBezTo>
                  <a:cubicBezTo>
                    <a:pt x="83" y="195"/>
                    <a:pt x="71" y="200"/>
                    <a:pt x="54" y="200"/>
                  </a:cubicBezTo>
                  <a:cubicBezTo>
                    <a:pt x="37" y="200"/>
                    <a:pt x="24" y="193"/>
                    <a:pt x="14" y="181"/>
                  </a:cubicBezTo>
                  <a:cubicBezTo>
                    <a:pt x="5" y="168"/>
                    <a:pt x="0" y="150"/>
                    <a:pt x="0" y="126"/>
                  </a:cubicBezTo>
                  <a:cubicBezTo>
                    <a:pt x="0" y="109"/>
                    <a:pt x="3" y="94"/>
                    <a:pt x="9" y="80"/>
                  </a:cubicBezTo>
                  <a:cubicBezTo>
                    <a:pt x="15" y="66"/>
                    <a:pt x="24" y="54"/>
                    <a:pt x="34" y="44"/>
                  </a:cubicBezTo>
                  <a:cubicBezTo>
                    <a:pt x="45" y="33"/>
                    <a:pt x="57" y="24"/>
                    <a:pt x="71" y="17"/>
                  </a:cubicBezTo>
                  <a:cubicBezTo>
                    <a:pt x="84" y="9"/>
                    <a:pt x="99" y="4"/>
                    <a:pt x="114" y="0"/>
                  </a:cubicBezTo>
                  <a:cubicBezTo>
                    <a:pt x="126" y="24"/>
                    <a:pt x="126" y="24"/>
                    <a:pt x="126" y="24"/>
                  </a:cubicBezTo>
                  <a:cubicBezTo>
                    <a:pt x="103" y="32"/>
                    <a:pt x="84" y="43"/>
                    <a:pt x="68" y="56"/>
                  </a:cubicBezTo>
                  <a:cubicBezTo>
                    <a:pt x="53" y="70"/>
                    <a:pt x="46" y="88"/>
                    <a:pt x="46" y="109"/>
                  </a:cubicBezTo>
                  <a:cubicBezTo>
                    <a:pt x="47" y="109"/>
                    <a:pt x="47" y="109"/>
                    <a:pt x="47" y="109"/>
                  </a:cubicBezTo>
                  <a:cubicBezTo>
                    <a:pt x="63" y="109"/>
                    <a:pt x="76" y="112"/>
                    <a:pt x="86" y="118"/>
                  </a:cubicBezTo>
                  <a:cubicBezTo>
                    <a:pt x="96" y="125"/>
                    <a:pt x="101" y="136"/>
                    <a:pt x="101" y="153"/>
                  </a:cubicBezTo>
                  <a:close/>
                  <a:moveTo>
                    <a:pt x="241" y="153"/>
                  </a:moveTo>
                  <a:cubicBezTo>
                    <a:pt x="241" y="164"/>
                    <a:pt x="238" y="175"/>
                    <a:pt x="230" y="185"/>
                  </a:cubicBezTo>
                  <a:cubicBezTo>
                    <a:pt x="223" y="195"/>
                    <a:pt x="211" y="200"/>
                    <a:pt x="194" y="200"/>
                  </a:cubicBezTo>
                  <a:cubicBezTo>
                    <a:pt x="177" y="200"/>
                    <a:pt x="164" y="193"/>
                    <a:pt x="154" y="181"/>
                  </a:cubicBezTo>
                  <a:cubicBezTo>
                    <a:pt x="144" y="168"/>
                    <a:pt x="140" y="150"/>
                    <a:pt x="140" y="126"/>
                  </a:cubicBezTo>
                  <a:cubicBezTo>
                    <a:pt x="140" y="109"/>
                    <a:pt x="143" y="94"/>
                    <a:pt x="149" y="80"/>
                  </a:cubicBezTo>
                  <a:cubicBezTo>
                    <a:pt x="155" y="66"/>
                    <a:pt x="163" y="54"/>
                    <a:pt x="174" y="44"/>
                  </a:cubicBezTo>
                  <a:cubicBezTo>
                    <a:pt x="184" y="33"/>
                    <a:pt x="197" y="24"/>
                    <a:pt x="210" y="17"/>
                  </a:cubicBezTo>
                  <a:cubicBezTo>
                    <a:pt x="224" y="9"/>
                    <a:pt x="239" y="4"/>
                    <a:pt x="254" y="0"/>
                  </a:cubicBezTo>
                  <a:cubicBezTo>
                    <a:pt x="266" y="24"/>
                    <a:pt x="266" y="24"/>
                    <a:pt x="266" y="24"/>
                  </a:cubicBezTo>
                  <a:cubicBezTo>
                    <a:pt x="243" y="32"/>
                    <a:pt x="223" y="43"/>
                    <a:pt x="208" y="56"/>
                  </a:cubicBezTo>
                  <a:cubicBezTo>
                    <a:pt x="193" y="70"/>
                    <a:pt x="185" y="88"/>
                    <a:pt x="185" y="109"/>
                  </a:cubicBezTo>
                  <a:cubicBezTo>
                    <a:pt x="187" y="109"/>
                    <a:pt x="187" y="109"/>
                    <a:pt x="187" y="109"/>
                  </a:cubicBezTo>
                  <a:cubicBezTo>
                    <a:pt x="202" y="109"/>
                    <a:pt x="215" y="112"/>
                    <a:pt x="226" y="118"/>
                  </a:cubicBezTo>
                  <a:cubicBezTo>
                    <a:pt x="236" y="125"/>
                    <a:pt x="241" y="136"/>
                    <a:pt x="241" y="1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3" name="Rectangle 12"/>
            <p:cNvSpPr/>
            <p:nvPr/>
          </p:nvSpPr>
          <p:spPr bwMode="black">
            <a:xfrm>
              <a:off x="3854826" y="875856"/>
              <a:ext cx="924043" cy="9902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spTree>
    <p:extLst>
      <p:ext uri="{BB962C8B-B14F-4D97-AF65-F5344CB8AC3E}">
        <p14:creationId xmlns:p14="http://schemas.microsoft.com/office/powerpoint/2010/main" val="1861725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Agenda">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B157FD6-37CF-44A5-8CC3-1FDBA0B39C22}"/>
              </a:ext>
            </a:extLst>
          </p:cNvPr>
          <p:cNvGraphicFramePr>
            <a:graphicFrameLocks noChangeAspect="1"/>
          </p:cNvGraphicFramePr>
          <p:nvPr userDrawn="1">
            <p:custDataLst>
              <p:tags r:id="rId2"/>
            </p:custDataLst>
            <p:extLst>
              <p:ext uri="{D42A27DB-BD31-4B8C-83A1-F6EECF244321}">
                <p14:modId xmlns:p14="http://schemas.microsoft.com/office/powerpoint/2010/main" val="22930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3"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5"/>
          <p:cNvGrpSpPr/>
          <p:nvPr/>
        </p:nvGrpSpPr>
        <p:grpSpPr>
          <a:xfrm>
            <a:off x="631553" y="908491"/>
            <a:ext cx="3448081" cy="3489100"/>
            <a:chOff x="631550" y="927541"/>
            <a:chExt cx="3448081" cy="3489100"/>
          </a:xfrm>
        </p:grpSpPr>
        <p:sp>
          <p:nvSpPr>
            <p:cNvPr id="7" name="Rectangle 6"/>
            <p:cNvSpPr/>
            <p:nvPr/>
          </p:nvSpPr>
          <p:spPr>
            <a:xfrm>
              <a:off x="631550" y="927541"/>
              <a:ext cx="3448081" cy="3489100"/>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8" name="TextBox 7"/>
            <p:cNvSpPr txBox="1"/>
            <p:nvPr/>
          </p:nvSpPr>
          <p:spPr>
            <a:xfrm>
              <a:off x="783407" y="1115158"/>
              <a:ext cx="2488182" cy="896399"/>
            </a:xfrm>
            <a:prstGeom prst="rect">
              <a:avLst/>
            </a:prstGeom>
            <a:noFill/>
          </p:spPr>
          <p:txBody>
            <a:bodyPr wrap="none" rtlCol="0">
              <a:spAutoFit/>
            </a:bodyPr>
            <a:lstStyle/>
            <a:p>
              <a:pPr algn="ctr">
                <a:lnSpc>
                  <a:spcPct val="95000"/>
                </a:lnSpc>
              </a:pPr>
              <a:r>
                <a:rPr lang="en-US" sz="5500" dirty="0">
                  <a:solidFill>
                    <a:prstClr val="white"/>
                  </a:solidFill>
                </a:rPr>
                <a:t>Agenda</a:t>
              </a:r>
            </a:p>
          </p:txBody>
        </p:sp>
      </p:grpSp>
      <p:sp>
        <p:nvSpPr>
          <p:cNvPr id="10" name="Rectangle 9"/>
          <p:cNvSpPr/>
          <p:nvPr/>
        </p:nvSpPr>
        <p:spPr bwMode="invGray">
          <a:xfrm>
            <a:off x="1775520" y="4691187"/>
            <a:ext cx="770855" cy="826045"/>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3" name="Rectangle 12"/>
          <p:cNvSpPr/>
          <p:nvPr/>
        </p:nvSpPr>
        <p:spPr>
          <a:xfrm>
            <a:off x="2832952" y="4691187"/>
            <a:ext cx="1246681" cy="13301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2" name="Text Placeholder 11"/>
          <p:cNvSpPr>
            <a:spLocks noGrp="1"/>
          </p:cNvSpPr>
          <p:nvPr>
            <p:ph type="body" sz="quarter" idx="14" hasCustomPrompt="1"/>
          </p:nvPr>
        </p:nvSpPr>
        <p:spPr>
          <a:xfrm>
            <a:off x="4354513" y="1494372"/>
            <a:ext cx="7178040" cy="2405062"/>
          </a:xfrm>
        </p:spPr>
        <p:txBody>
          <a:bodyPr anchor="t"/>
          <a:lstStyle>
            <a:lvl1pPr>
              <a:lnSpc>
                <a:spcPct val="104000"/>
              </a:lnSpc>
              <a:spcBef>
                <a:spcPts val="1800"/>
              </a:spcBef>
              <a:spcAft>
                <a:spcPts val="0"/>
              </a:spcAft>
              <a:defRPr sz="2400">
                <a:solidFill>
                  <a:schemeClr val="bg1"/>
                </a:solidFill>
              </a:defRPr>
            </a:lvl1pPr>
            <a:lvl2pPr marL="0" indent="0">
              <a:lnSpc>
                <a:spcPct val="110000"/>
              </a:lnSpc>
              <a:spcAft>
                <a:spcPts val="0"/>
              </a:spcAft>
              <a:buFont typeface="Arial" panose="020B0604020202020204" pitchFamily="34" charset="0"/>
              <a:buChar char="​"/>
              <a:defRPr sz="1600">
                <a:solidFill>
                  <a:schemeClr val="bg1"/>
                </a:solidFill>
              </a:defRPr>
            </a:lvl2pPr>
            <a:lvl3pPr marL="176213" indent="-176213">
              <a:lnSpc>
                <a:spcPct val="110000"/>
              </a:lnSpc>
              <a:spcBef>
                <a:spcPts val="0"/>
              </a:spcBef>
              <a:spcAft>
                <a:spcPts val="300"/>
              </a:spcAft>
              <a:buClr>
                <a:schemeClr val="bg1"/>
              </a:buClr>
              <a:buFont typeface="Arial" panose="020B0604020202020204" pitchFamily="34" charset="0"/>
              <a:buChar char="•"/>
              <a:defRPr sz="1600">
                <a:solidFill>
                  <a:schemeClr val="bg1"/>
                </a:solidFill>
              </a:defRPr>
            </a:lvl3pPr>
            <a:lvl4pPr marL="0" indent="0">
              <a:lnSpc>
                <a:spcPct val="110000"/>
              </a:lnSpc>
              <a:spcBef>
                <a:spcPts val="0"/>
              </a:spcBef>
              <a:spcAft>
                <a:spcPts val="600"/>
              </a:spcAft>
              <a:buFont typeface="Arial" panose="020B0604020202020204" pitchFamily="34" charset="0"/>
              <a:buNone/>
              <a:defRPr sz="1600">
                <a:solidFill>
                  <a:schemeClr val="bg1"/>
                </a:solidFill>
              </a:defRPr>
            </a:lvl4pPr>
            <a:lvl5pPr marL="0" indent="0">
              <a:spcBef>
                <a:spcPts val="0"/>
              </a:spcBef>
              <a:buClrTx/>
              <a:buFont typeface="Arial" panose="020B0604020202020204" pitchFamily="34" charset="0"/>
              <a:buNone/>
              <a:defRPr>
                <a:solidFill>
                  <a:schemeClr val="bg1"/>
                </a:solidFill>
              </a:defRPr>
            </a:lvl5pPr>
            <a:lvl6pPr>
              <a:buNone/>
              <a:defRPr/>
            </a:lvl6pPr>
            <a:lvl7pPr>
              <a:buNone/>
              <a:defRPr/>
            </a:lvl7pPr>
            <a:lvl8pPr>
              <a:buNone/>
              <a:defRPr/>
            </a:lvl8pPr>
            <a:lvl9pPr>
              <a:buNone/>
              <a:defRPr/>
            </a:lvl9pPr>
          </a:lstStyle>
          <a:p>
            <a:pPr lvl="0"/>
            <a:r>
              <a:rPr lang="en-US" dirty="0"/>
              <a:t>Edit agenda</a:t>
            </a:r>
          </a:p>
          <a:p>
            <a:pPr lvl="1"/>
            <a:r>
              <a:rPr lang="en-US" dirty="0"/>
              <a:t>Second level</a:t>
            </a:r>
          </a:p>
          <a:p>
            <a:pPr lvl="2"/>
            <a:r>
              <a:rPr lang="en-US"/>
              <a:t>Third level</a:t>
            </a:r>
            <a:endParaRPr lang="en-US" dirty="0"/>
          </a:p>
        </p:txBody>
      </p:sp>
      <p:sp>
        <p:nvSpPr>
          <p:cNvPr id="84" name="Subtitle 2"/>
          <p:cNvSpPr>
            <a:spLocks noGrp="1"/>
          </p:cNvSpPr>
          <p:nvPr>
            <p:ph type="subTitle" idx="1" hasCustomPrompt="1"/>
          </p:nvPr>
        </p:nvSpPr>
        <p:spPr>
          <a:xfrm>
            <a:off x="2927648" y="4866021"/>
            <a:ext cx="1151986" cy="435188"/>
          </a:xfrm>
        </p:spPr>
        <p:txBody>
          <a:bodyPr anchor="t"/>
          <a:lstStyle>
            <a:lvl1pPr marL="0" indent="0" algn="l">
              <a:lnSpc>
                <a:spcPct val="95000"/>
              </a:lnSpc>
              <a:buNone/>
              <a:defRPr sz="10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ate</a:t>
            </a:r>
          </a:p>
        </p:txBody>
      </p:sp>
      <p:sp>
        <p:nvSpPr>
          <p:cNvPr id="17"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dirty="0">
              <a:solidFill>
                <a:prstClr val="white"/>
              </a:solidFill>
            </a:endParaRPr>
          </a:p>
        </p:txBody>
      </p:sp>
      <p:sp>
        <p:nvSpPr>
          <p:cNvPr id="14" name="TextBox 13"/>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5" name="TextBox 14">
            <a:extLst>
              <a:ext uri="{FF2B5EF4-FFF2-40B4-BE49-F238E27FC236}">
                <a16:creationId xmlns:a16="http://schemas.microsoft.com/office/drawing/2014/main" id="{0DFE000C-E8C0-4364-8CCB-59BDB59AC2E6}"/>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
        <p:nvSpPr>
          <p:cNvPr id="16" name="Rectangle 15">
            <a:extLst>
              <a:ext uri="{FF2B5EF4-FFF2-40B4-BE49-F238E27FC236}">
                <a16:creationId xmlns:a16="http://schemas.microsoft.com/office/drawing/2014/main" id="{47AFFB78-0D42-4961-8443-FAADC4FB052A}"/>
              </a:ext>
            </a:extLst>
          </p:cNvPr>
          <p:cNvSpPr/>
          <p:nvPr userDrawn="1"/>
        </p:nvSpPr>
        <p:spPr bwMode="invGray">
          <a:xfrm>
            <a:off x="2314309" y="5772607"/>
            <a:ext cx="232066" cy="24868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Tree>
    <p:extLst>
      <p:ext uri="{BB962C8B-B14F-4D97-AF65-F5344CB8AC3E}">
        <p14:creationId xmlns:p14="http://schemas.microsoft.com/office/powerpoint/2010/main" val="1778954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pecial gray">
    <p:bg bwMode="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5B74F27-D24C-4197-9614-5E0422210389}"/>
              </a:ext>
            </a:extLst>
          </p:cNvPr>
          <p:cNvGraphicFramePr>
            <a:graphicFrameLocks noChangeAspect="1"/>
          </p:cNvGraphicFramePr>
          <p:nvPr userDrawn="1">
            <p:custDataLst>
              <p:tags r:id="rId2"/>
            </p:custDataLst>
            <p:extLst>
              <p:ext uri="{D42A27DB-BD31-4B8C-83A1-F6EECF244321}">
                <p14:modId xmlns:p14="http://schemas.microsoft.com/office/powerpoint/2010/main" val="1515636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F6EF182-F3DF-4BA8-85D1-EE52EBDB0095}"/>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p:cNvSpPr>
            <a:spLocks noGrp="1"/>
          </p:cNvSpPr>
          <p:nvPr>
            <p:ph type="title"/>
          </p:nvPr>
        </p:nvSpPr>
        <p:spPr bwMode="white"/>
        <p:txBody>
          <a:bodyPr/>
          <a:lstStyle>
            <a:lvl1pPr>
              <a:defRPr>
                <a:solidFill>
                  <a:schemeClr val="bg1"/>
                </a:solidFill>
              </a:defRPr>
            </a:lvl1pPr>
          </a:lstStyle>
          <a:p>
            <a:r>
              <a:rPr lang="en-US"/>
              <a:t>Click to edit Master title style</a:t>
            </a:r>
          </a:p>
        </p:txBody>
      </p:sp>
      <p:sp>
        <p:nvSpPr>
          <p:cNvPr id="2" name="Date Placeholder 1"/>
          <p:cNvSpPr>
            <a:spLocks noGrp="1"/>
          </p:cNvSpPr>
          <p:nvPr>
            <p:ph type="dt" sz="half" idx="14"/>
          </p:nvPr>
        </p:nvSpPr>
        <p:spPr bwMode="white"/>
        <p:txBody>
          <a:bodyPr/>
          <a:lstStyle>
            <a:lvl1pPr>
              <a:defRPr>
                <a:solidFill>
                  <a:schemeClr val="bg1"/>
                </a:solidFill>
              </a:defRPr>
            </a:lvl1pPr>
          </a:lstStyle>
          <a:p>
            <a:endParaRPr lang="en-US" dirty="0">
              <a:solidFill>
                <a:prstClr val="white"/>
              </a:solidFill>
            </a:endParaRPr>
          </a:p>
        </p:txBody>
      </p:sp>
      <p:sp>
        <p:nvSpPr>
          <p:cNvPr id="10"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dirty="0">
              <a:solidFill>
                <a:prstClr val="white"/>
              </a:solidFill>
            </a:endParaRP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8" name="TextBox 7">
            <a:extLst>
              <a:ext uri="{FF2B5EF4-FFF2-40B4-BE49-F238E27FC236}">
                <a16:creationId xmlns:a16="http://schemas.microsoft.com/office/drawing/2014/main" id="{71AE0832-ACA2-416B-935B-9A478BFAC967}"/>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407311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DB44062-8512-4A07-94C2-9382CA9A6AD6}"/>
              </a:ext>
            </a:extLst>
          </p:cNvPr>
          <p:cNvGraphicFramePr>
            <a:graphicFrameLocks noChangeAspect="1"/>
          </p:cNvGraphicFramePr>
          <p:nvPr userDrawn="1">
            <p:custDataLst>
              <p:tags r:id="rId2"/>
            </p:custDataLst>
            <p:extLst>
              <p:ext uri="{D42A27DB-BD31-4B8C-83A1-F6EECF244321}">
                <p14:modId xmlns:p14="http://schemas.microsoft.com/office/powerpoint/2010/main" val="140017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1"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p:txBody>
          <a:bodyPr/>
          <a:lstStyle/>
          <a:p>
            <a:endParaRPr lang="en-US" dirty="0">
              <a:solidFill>
                <a:prstClr val="white">
                  <a:lumMod val="65000"/>
                </a:prstClr>
              </a:solidFill>
            </a:endParaRPr>
          </a:p>
        </p:txBody>
      </p:sp>
      <p:sp>
        <p:nvSpPr>
          <p:cNvPr id="6"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dirty="0">
              <a:solidFill>
                <a:prstClr val="white">
                  <a:lumMod val="65000"/>
                </a:prstClr>
              </a:solidFill>
            </a:endParaRPr>
          </a:p>
        </p:txBody>
      </p:sp>
    </p:spTree>
    <p:extLst>
      <p:ext uri="{BB962C8B-B14F-4D97-AF65-F5344CB8AC3E}">
        <p14:creationId xmlns:p14="http://schemas.microsoft.com/office/powerpoint/2010/main" val="2430632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Blank green">
    <p:bg bwMode="blackGray">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004802-3D04-4710-8943-83F8BEA3ECED}"/>
              </a:ext>
            </a:extLst>
          </p:cNvPr>
          <p:cNvGraphicFramePr>
            <a:graphicFrameLocks noChangeAspect="1"/>
          </p:cNvGraphicFramePr>
          <p:nvPr userDrawn="1">
            <p:custDataLst>
              <p:tags r:id="rId2"/>
            </p:custDataLst>
            <p:extLst>
              <p:ext uri="{D42A27DB-BD31-4B8C-83A1-F6EECF244321}">
                <p14:modId xmlns:p14="http://schemas.microsoft.com/office/powerpoint/2010/main" val="71382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5"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p:txBody>
          <a:bodyPr/>
          <a:lstStyle>
            <a:lvl1pPr>
              <a:defRPr>
                <a:solidFill>
                  <a:schemeClr val="bg1"/>
                </a:solidFill>
              </a:defRPr>
            </a:lvl1pPr>
          </a:lstStyle>
          <a:p>
            <a:endParaRPr lang="en-US" dirty="0">
              <a:solidFill>
                <a:prstClr val="white"/>
              </a:solidFill>
            </a:endParaRPr>
          </a:p>
        </p:txBody>
      </p:sp>
      <p:sp>
        <p:nvSpPr>
          <p:cNvPr id="8"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dirty="0">
              <a:solidFill>
                <a:prstClr val="white"/>
              </a:solidFill>
            </a:endParaRPr>
          </a:p>
        </p:txBody>
      </p:sp>
      <p:sp>
        <p:nvSpPr>
          <p:cNvPr id="10" name="TextBox 9"/>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Tree>
    <p:extLst>
      <p:ext uri="{BB962C8B-B14F-4D97-AF65-F5344CB8AC3E}">
        <p14:creationId xmlns:p14="http://schemas.microsoft.com/office/powerpoint/2010/main" val="2780542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E6F54E5-854C-4CB3-BBC4-4CF15A669FE3}"/>
              </a:ext>
            </a:extLst>
          </p:cNvPr>
          <p:cNvGraphicFramePr>
            <a:graphicFrameLocks noChangeAspect="1"/>
          </p:cNvGraphicFramePr>
          <p:nvPr userDrawn="1">
            <p:custDataLst>
              <p:tags r:id="rId2"/>
            </p:custDataLst>
            <p:extLst>
              <p:ext uri="{D42A27DB-BD31-4B8C-83A1-F6EECF244321}">
                <p14:modId xmlns:p14="http://schemas.microsoft.com/office/powerpoint/2010/main" val="1898870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4441637-5D21-4F3D-9A2F-424F2D913C1E}"/>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5" name="Text Placeholder 4"/>
          <p:cNvSpPr>
            <a:spLocks noGrp="1"/>
          </p:cNvSpPr>
          <p:nvPr>
            <p:ph type="body" sz="quarter" idx="14" hasCustomPrompt="1"/>
          </p:nvPr>
        </p:nvSpPr>
        <p:spPr>
          <a:xfrm>
            <a:off x="633413" y="2084387"/>
            <a:ext cx="109315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p:cNvSpPr>
            <a:spLocks noGrp="1"/>
          </p:cNvSpPr>
          <p:nvPr>
            <p:ph type="dt" sz="half" idx="15"/>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16"/>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2713100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A53C1D-8BF1-4181-B5A9-96384674C3B6}"/>
              </a:ext>
            </a:extLst>
          </p:cNvPr>
          <p:cNvGraphicFramePr>
            <a:graphicFrameLocks noChangeAspect="1"/>
          </p:cNvGraphicFramePr>
          <p:nvPr userDrawn="1">
            <p:custDataLst>
              <p:tags r:id="rId2"/>
            </p:custDataLst>
            <p:extLst>
              <p:ext uri="{D42A27DB-BD31-4B8C-83A1-F6EECF244321}">
                <p14:modId xmlns:p14="http://schemas.microsoft.com/office/powerpoint/2010/main" val="1606263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9"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595007"/>
            <a:ext cx="6209072" cy="3462486"/>
          </a:xfrm>
          <a:prstGeom prst="rect">
            <a:avLst/>
          </a:prstGeom>
        </p:spPr>
        <p:txBody>
          <a:bodyPr wrap="square" lIns="0" tIns="0" rIns="0" bIns="0" anchor="ctr">
            <a:spAutoFit/>
          </a:bodyPr>
          <a:lstStyle/>
          <a:p>
            <a:r>
              <a:rPr lang="en-US" sz="900" dirty="0">
                <a:solidFill>
                  <a:srgbClr val="575757"/>
                </a:solidFill>
              </a:rPr>
              <a:t>The services and materials provided by eForce (eForce) are subject to </a:t>
            </a:r>
            <a:r>
              <a:rPr lang="en-US" sz="900" dirty="0" err="1">
                <a:solidFill>
                  <a:srgbClr val="575757"/>
                </a:solidFill>
              </a:rPr>
              <a:t>eForce's</a:t>
            </a:r>
            <a:r>
              <a:rPr lang="en-US" sz="900" dirty="0">
                <a:solidFill>
                  <a:srgbClr val="575757"/>
                </a:solidFill>
              </a:rPr>
              <a:t> Standard Terms </a:t>
            </a:r>
            <a:br>
              <a:rPr lang="en-US" sz="900" dirty="0">
                <a:solidFill>
                  <a:srgbClr val="575757"/>
                </a:solidFill>
              </a:rPr>
            </a:br>
            <a:r>
              <a:rPr lang="en-US" sz="900" dirty="0">
                <a:solidFill>
                  <a:srgbClr val="575757"/>
                </a:solidFill>
              </a:rPr>
              <a:t>(a copy of which is available upon request) or such other agreement as may have been previously executed by </a:t>
            </a:r>
            <a:r>
              <a:rPr lang="en-US" sz="900" dirty="0" err="1">
                <a:solidFill>
                  <a:srgbClr val="575757"/>
                </a:solidFill>
              </a:rPr>
              <a:t>eForce</a:t>
            </a:r>
            <a:r>
              <a:rPr lang="en-US" sz="900" dirty="0">
                <a:solidFill>
                  <a:srgbClr val="575757"/>
                </a:solidFill>
              </a:rPr>
              <a:t>. </a:t>
            </a:r>
            <a:r>
              <a:rPr lang="en-US" sz="900" dirty="0" err="1">
                <a:solidFill>
                  <a:srgbClr val="575757"/>
                </a:solidFill>
              </a:rPr>
              <a:t>eForce</a:t>
            </a:r>
            <a:r>
              <a:rPr lang="en-US" sz="900" dirty="0">
                <a:solidFill>
                  <a:srgbClr val="575757"/>
                </a:solidFill>
              </a:rPr>
              <a:t> does not provide legal, accounting, or tax advice. The Client is responsible for obtaining independent advice concerning these matters. This advice may affect the guidance given by </a:t>
            </a:r>
            <a:r>
              <a:rPr lang="en-US" sz="900" dirty="0" err="1">
                <a:solidFill>
                  <a:srgbClr val="575757"/>
                </a:solidFill>
              </a:rPr>
              <a:t>eForce</a:t>
            </a:r>
            <a:r>
              <a:rPr lang="en-US" sz="900" dirty="0">
                <a:solidFill>
                  <a:srgbClr val="575757"/>
                </a:solidFill>
              </a:rPr>
              <a:t>. Further, </a:t>
            </a:r>
            <a:r>
              <a:rPr lang="en-US" sz="900" dirty="0" err="1">
                <a:solidFill>
                  <a:srgbClr val="575757"/>
                </a:solidFill>
              </a:rPr>
              <a:t>eForce</a:t>
            </a:r>
            <a:r>
              <a:rPr lang="en-US" sz="900" dirty="0">
                <a:solidFill>
                  <a:srgbClr val="575757"/>
                </a:solidFill>
              </a:rPr>
              <a:t> has made no undertaking to update these materials after the date hereof, notwithstanding that such information may become outdated or inaccurate.</a:t>
            </a:r>
          </a:p>
          <a:p>
            <a:r>
              <a:rPr lang="en-US" sz="900" dirty="0">
                <a:solidFill>
                  <a:srgbClr val="575757"/>
                </a:solidFill>
              </a:rPr>
              <a:t> </a:t>
            </a:r>
          </a:p>
          <a:p>
            <a:r>
              <a:rPr lang="en-US" sz="900" dirty="0">
                <a:solidFill>
                  <a:srgbClr val="575757"/>
                </a:solidFill>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a:t>
            </a:r>
            <a:r>
              <a:rPr lang="en-US" sz="900" dirty="0" err="1">
                <a:solidFill>
                  <a:srgbClr val="575757"/>
                </a:solidFill>
              </a:rPr>
              <a:t>eForce</a:t>
            </a:r>
            <a:r>
              <a:rPr lang="en-US" sz="900" dirty="0">
                <a:solidFill>
                  <a:srgbClr val="575757"/>
                </a:solidFill>
              </a:rPr>
              <a:t>.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a:t>
            </a:r>
            <a:r>
              <a:rPr lang="en-US" sz="900" dirty="0" err="1">
                <a:solidFill>
                  <a:srgbClr val="575757"/>
                </a:solidFill>
              </a:rPr>
              <a:t>eForce</a:t>
            </a:r>
            <a:r>
              <a:rPr lang="en-US" sz="900" dirty="0">
                <a:solidFill>
                  <a:srgbClr val="575757"/>
                </a:solidFill>
              </a:rPr>
              <a:t>), </a:t>
            </a:r>
            <a:r>
              <a:rPr lang="en-US" sz="900" dirty="0" err="1">
                <a:solidFill>
                  <a:srgbClr val="575757"/>
                </a:solidFill>
              </a:rPr>
              <a:t>eForce</a:t>
            </a:r>
            <a:r>
              <a:rPr lang="en-US" sz="900" dirty="0">
                <a:solidFill>
                  <a:srgbClr val="575757"/>
                </a:solidFill>
              </a:rPr>
              <a:t> shall have no liability whatsoever to any Third Party, and any Third Party hereby waives any rights and claims it may have at any time against </a:t>
            </a:r>
            <a:r>
              <a:rPr lang="en-US" sz="900" dirty="0" err="1">
                <a:solidFill>
                  <a:srgbClr val="575757"/>
                </a:solidFill>
              </a:rPr>
              <a:t>eForce</a:t>
            </a:r>
            <a:r>
              <a:rPr lang="en-US" sz="900" dirty="0">
                <a:solidFill>
                  <a:srgbClr val="575757"/>
                </a:solidFill>
              </a:rPr>
              <a:t>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endParaRPr>
          </a:p>
          <a:p>
            <a:pPr>
              <a:defRPr/>
            </a:pPr>
            <a:r>
              <a:rPr lang="en-US" sz="900" dirty="0" err="1">
                <a:solidFill>
                  <a:srgbClr val="575757"/>
                </a:solidFill>
              </a:rPr>
              <a:t>eForce</a:t>
            </a:r>
            <a:r>
              <a:rPr lang="en-US" sz="900" dirty="0">
                <a:solidFill>
                  <a:srgbClr val="575757"/>
                </a:solidFill>
              </a:rPr>
              <a:t>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a:t>
            </a:r>
            <a:r>
              <a:rPr lang="en-US" sz="900" dirty="0" err="1">
                <a:solidFill>
                  <a:srgbClr val="575757"/>
                </a:solidFill>
              </a:rPr>
              <a:t>eForce</a:t>
            </a:r>
            <a:r>
              <a:rPr lang="en-US" sz="900" dirty="0">
                <a:solidFill>
                  <a:srgbClr val="575757"/>
                </a:solidFill>
              </a:rPr>
              <a:t>. </a:t>
            </a:r>
            <a:r>
              <a:rPr lang="en-US" sz="900" dirty="0" err="1">
                <a:solidFill>
                  <a:srgbClr val="575757"/>
                </a:solidFill>
              </a:rPr>
              <a:t>eForce</a:t>
            </a:r>
            <a:r>
              <a:rPr lang="en-US" sz="900" dirty="0">
                <a:solidFill>
                  <a:srgbClr val="575757"/>
                </a:solidFill>
              </a:rPr>
              <a:t> has used public and/or confidential data and assumptions provided to </a:t>
            </a:r>
            <a:r>
              <a:rPr lang="en-US" sz="900" dirty="0" err="1">
                <a:solidFill>
                  <a:srgbClr val="575757"/>
                </a:solidFill>
              </a:rPr>
              <a:t>eForce</a:t>
            </a:r>
            <a:r>
              <a:rPr lang="en-US" sz="900" dirty="0">
                <a:solidFill>
                  <a:srgbClr val="575757"/>
                </a:solidFill>
              </a:rPr>
              <a:t> by the Client. </a:t>
            </a:r>
            <a:r>
              <a:rPr lang="en-US" sz="900" dirty="0" err="1">
                <a:solidFill>
                  <a:srgbClr val="575757"/>
                </a:solidFill>
              </a:rPr>
              <a:t>eForce</a:t>
            </a:r>
            <a:r>
              <a:rPr lang="en-US" sz="900" dirty="0">
                <a:solidFill>
                  <a:srgbClr val="575757"/>
                </a:solidFill>
              </a:rPr>
              <a:t>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63266"/>
            <a:ext cx="3199529" cy="72596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chemeClr val="tx2"/>
                </a:solidFill>
              </a:rPr>
              <a:t>Disclaimer</a:t>
            </a:r>
          </a:p>
        </p:txBody>
      </p:sp>
      <p:cxnSp>
        <p:nvCxnSpPr>
          <p:cNvPr id="9" name="Straight Connector 8"/>
          <p:cNvCxnSpPr/>
          <p:nvPr/>
        </p:nvCxnSpPr>
        <p:spPr>
          <a:xfrm>
            <a:off x="4367898" y="1630185"/>
            <a:ext cx="0" cy="3392129"/>
          </a:xfrm>
          <a:prstGeom prst="line">
            <a:avLst/>
          </a:prstGeom>
          <a:ln w="9525">
            <a:solidFill>
              <a:schemeClr val="tx2"/>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p:txBody>
          <a:bodyPr/>
          <a:lstStyle/>
          <a:p>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3705665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636EDA-8083-4E23-8AB2-3FBD4D8DC40E}"/>
              </a:ext>
            </a:extLst>
          </p:cNvPr>
          <p:cNvGraphicFramePr>
            <a:graphicFrameLocks noChangeAspect="1"/>
          </p:cNvGraphicFramePr>
          <p:nvPr userDrawn="1">
            <p:custDataLst>
              <p:tags r:id="rId2"/>
            </p:custDataLst>
            <p:extLst>
              <p:ext uri="{D42A27DB-BD31-4B8C-83A1-F6EECF244321}">
                <p14:modId xmlns:p14="http://schemas.microsoft.com/office/powerpoint/2010/main" val="378864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8" name="Picture 27" descr="VÃ½sledek obrÃ¡zku pro smart city">
            <a:extLst>
              <a:ext uri="{FF2B5EF4-FFF2-40B4-BE49-F238E27FC236}">
                <a16:creationId xmlns:a16="http://schemas.microsoft.com/office/drawing/2014/main" id="{B6E637E1-C104-4771-8EA5-75ADEB1E8596}"/>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800" y="-115910"/>
            <a:ext cx="12190200" cy="5276850"/>
          </a:xfrm>
          <a:custGeom>
            <a:avLst/>
            <a:gdLst>
              <a:gd name="connsiteX0" fmla="*/ 0 w 12190200"/>
              <a:gd name="connsiteY0" fmla="*/ 0 h 5276850"/>
              <a:gd name="connsiteX1" fmla="*/ 12190200 w 12190200"/>
              <a:gd name="connsiteY1" fmla="*/ 0 h 5276850"/>
              <a:gd name="connsiteX2" fmla="*/ 12190200 w 12190200"/>
              <a:gd name="connsiteY2" fmla="*/ 5276850 h 5276850"/>
              <a:gd name="connsiteX3" fmla="*/ 0 w 12190200"/>
              <a:gd name="connsiteY3" fmla="*/ 5276850 h 5276850"/>
            </a:gdLst>
            <a:ahLst/>
            <a:cxnLst>
              <a:cxn ang="0">
                <a:pos x="connsiteX0" y="connsiteY0"/>
              </a:cxn>
              <a:cxn ang="0">
                <a:pos x="connsiteX1" y="connsiteY1"/>
              </a:cxn>
              <a:cxn ang="0">
                <a:pos x="connsiteX2" y="connsiteY2"/>
              </a:cxn>
              <a:cxn ang="0">
                <a:pos x="connsiteX3" y="connsiteY3"/>
              </a:cxn>
            </a:cxnLst>
            <a:rect l="l" t="t" r="r" b="b"/>
            <a:pathLst>
              <a:path w="12190200" h="5276850">
                <a:moveTo>
                  <a:pt x="0" y="0"/>
                </a:moveTo>
                <a:lnTo>
                  <a:pt x="12190200" y="0"/>
                </a:lnTo>
                <a:lnTo>
                  <a:pt x="12190200" y="5276850"/>
                </a:lnTo>
                <a:lnTo>
                  <a:pt x="0" y="5276850"/>
                </a:lnTo>
                <a:close/>
              </a:path>
            </a:pathLst>
          </a:cu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black">
          <a:xfrm>
            <a:off x="630936" y="594252"/>
            <a:ext cx="5825103" cy="5548436"/>
          </a:xfrm>
          <a:prstGeom prst="rect">
            <a:avLst/>
          </a:prstGeom>
          <a:gradFill flip="none" rotWithShape="1">
            <a:gsLst>
              <a:gs pos="0">
                <a:schemeClr val="tx2">
                  <a:lumMod val="75000"/>
                  <a:alpha val="8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endParaRPr>
          </a:p>
        </p:txBody>
      </p:sp>
      <p:sp>
        <p:nvSpPr>
          <p:cNvPr id="8" name="Subtitle 6">
            <a:extLst>
              <a:ext uri="{FF2B5EF4-FFF2-40B4-BE49-F238E27FC236}">
                <a16:creationId xmlns:a16="http://schemas.microsoft.com/office/drawing/2014/main" id="{2A072AEC-E359-4CDD-9184-C6E0DC82E5F8}"/>
              </a:ext>
            </a:extLst>
          </p:cNvPr>
          <p:cNvSpPr txBox="1">
            <a:spLocks/>
          </p:cNvSpPr>
          <p:nvPr userDrawn="1"/>
        </p:nvSpPr>
        <p:spPr>
          <a:xfrm>
            <a:off x="955655" y="5573027"/>
            <a:ext cx="4708297" cy="281552"/>
          </a:xfrm>
          <a:prstGeom prst="rect">
            <a:avLst/>
          </a:prstGeom>
        </p:spPr>
        <p:txBody>
          <a:bodyPr anchor="ct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Trebuchet MS" panose="020B0603020202020204" pitchFamily="34" charset="0"/>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3pPr>
            <a:lvl4pPr marL="0" indent="0" algn="l" defTabSz="914400" rtl="0" eaLnBrk="1" latinLnBrk="0" hangingPunct="1">
              <a:lnSpc>
                <a:spcPct val="110000"/>
              </a:lnSpc>
              <a:spcBef>
                <a:spcPts val="0"/>
              </a:spcBef>
              <a:spcAft>
                <a:spcPts val="0"/>
              </a:spcAft>
              <a:buClr>
                <a:schemeClr val="tx2"/>
              </a:buClr>
              <a:buFont typeface="Arial" panose="020B0604020202020204" pitchFamily="34" charset="0"/>
              <a:buChar char="​"/>
              <a:defRPr sz="2800" kern="1200">
                <a:solidFill>
                  <a:schemeClr val="tx2"/>
                </a:solidFill>
                <a:latin typeface="Trebuchet MS" panose="020B0603020202020204" pitchFamily="34" charset="0"/>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Trebuchet MS" panose="020B0603020202020204" pitchFamily="34" charset="0"/>
                <a:ea typeface="+mn-ea"/>
                <a:cs typeface="+mn-cs"/>
              </a:defRPr>
            </a:lvl5pPr>
            <a:lvl6pPr marL="457200" indent="-339725" algn="l" defTabSz="914400" rtl="0" eaLnBrk="1" latinLnBrk="0" hangingPunct="1">
              <a:lnSpc>
                <a:spcPct val="9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Char char="​"/>
              <a:defRPr sz="2800" kern="1200">
                <a:solidFill>
                  <a:schemeClr val="tx2"/>
                </a:solidFill>
                <a:latin typeface="+mn-lt"/>
                <a:ea typeface="+mn-ea"/>
                <a:cs typeface="+mn-cs"/>
              </a:defRPr>
            </a:lvl9pPr>
          </a:lstStyle>
          <a:p>
            <a:r>
              <a:rPr lang="cs-CZ" sz="1600" i="1" dirty="0" err="1">
                <a:solidFill>
                  <a:srgbClr val="FFFFFF"/>
                </a:solidFill>
              </a:rPr>
              <a:t>Thank</a:t>
            </a:r>
            <a:r>
              <a:rPr lang="cs-CZ" sz="1600" i="1" dirty="0">
                <a:solidFill>
                  <a:srgbClr val="FFFFFF"/>
                </a:solidFill>
              </a:rPr>
              <a:t> </a:t>
            </a:r>
            <a:r>
              <a:rPr lang="cs-CZ" sz="1600" i="1" dirty="0" err="1">
                <a:solidFill>
                  <a:srgbClr val="FFFFFF"/>
                </a:solidFill>
              </a:rPr>
              <a:t>You</a:t>
            </a:r>
            <a:r>
              <a:rPr lang="cs-CZ" sz="1600" i="1" dirty="0">
                <a:solidFill>
                  <a:srgbClr val="FFFFFF"/>
                </a:solidFill>
              </a:rPr>
              <a:t> </a:t>
            </a:r>
            <a:r>
              <a:rPr lang="cs-CZ" sz="1600" i="1" dirty="0" err="1">
                <a:solidFill>
                  <a:srgbClr val="FFFFFF"/>
                </a:solidFill>
              </a:rPr>
              <a:t>for</a:t>
            </a:r>
            <a:r>
              <a:rPr lang="cs-CZ" sz="1600" i="1" dirty="0">
                <a:solidFill>
                  <a:srgbClr val="FFFFFF"/>
                </a:solidFill>
              </a:rPr>
              <a:t> </a:t>
            </a:r>
            <a:r>
              <a:rPr lang="cs-CZ" sz="1600" i="1" dirty="0" err="1">
                <a:solidFill>
                  <a:srgbClr val="FFFFFF"/>
                </a:solidFill>
              </a:rPr>
              <a:t>Your</a:t>
            </a:r>
            <a:r>
              <a:rPr lang="cs-CZ" sz="1600" i="1" dirty="0">
                <a:solidFill>
                  <a:srgbClr val="FFFFFF"/>
                </a:solidFill>
              </a:rPr>
              <a:t> </a:t>
            </a:r>
            <a:r>
              <a:rPr lang="cs-CZ" sz="1600" i="1" dirty="0" err="1">
                <a:solidFill>
                  <a:srgbClr val="FFFFFF"/>
                </a:solidFill>
              </a:rPr>
              <a:t>Attention</a:t>
            </a:r>
            <a:r>
              <a:rPr lang="cs-CZ" sz="1600" i="1" dirty="0">
                <a:solidFill>
                  <a:srgbClr val="FFFFFF"/>
                </a:solidFill>
              </a:rPr>
              <a:t>!</a:t>
            </a:r>
          </a:p>
        </p:txBody>
      </p:sp>
      <p:sp>
        <p:nvSpPr>
          <p:cNvPr id="3" name="Rectangle 2">
            <a:extLst>
              <a:ext uri="{FF2B5EF4-FFF2-40B4-BE49-F238E27FC236}">
                <a16:creationId xmlns:a16="http://schemas.microsoft.com/office/drawing/2014/main" id="{5CD61FF0-5A46-40AF-9F13-4515A32ECB35}"/>
              </a:ext>
            </a:extLst>
          </p:cNvPr>
          <p:cNvSpPr/>
          <p:nvPr userDrawn="1"/>
        </p:nvSpPr>
        <p:spPr>
          <a:xfrm>
            <a:off x="11064552" y="6142688"/>
            <a:ext cx="792088" cy="526672"/>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cs-CZ" sz="1200" dirty="0">
              <a:solidFill>
                <a:schemeClr val="bg1"/>
              </a:solidFill>
            </a:endParaRPr>
          </a:p>
        </p:txBody>
      </p:sp>
      <p:grpSp>
        <p:nvGrpSpPr>
          <p:cNvPr id="5" name="Group 4">
            <a:extLst>
              <a:ext uri="{FF2B5EF4-FFF2-40B4-BE49-F238E27FC236}">
                <a16:creationId xmlns:a16="http://schemas.microsoft.com/office/drawing/2014/main" id="{457738F5-131B-451B-B87E-6FACD270F2FE}"/>
              </a:ext>
            </a:extLst>
          </p:cNvPr>
          <p:cNvGrpSpPr/>
          <p:nvPr userDrawn="1"/>
        </p:nvGrpSpPr>
        <p:grpSpPr>
          <a:xfrm>
            <a:off x="932882" y="948139"/>
            <a:ext cx="1029636" cy="1050230"/>
            <a:chOff x="932882" y="948139"/>
            <a:chExt cx="1029636" cy="1050230"/>
          </a:xfrm>
        </p:grpSpPr>
        <p:sp>
          <p:nvSpPr>
            <p:cNvPr id="10" name="Freeform: Shape 9">
              <a:extLst>
                <a:ext uri="{FF2B5EF4-FFF2-40B4-BE49-F238E27FC236}">
                  <a16:creationId xmlns:a16="http://schemas.microsoft.com/office/drawing/2014/main" id="{0962DAAC-80F5-452E-A7B9-274E808C7B9F}"/>
                </a:ext>
              </a:extLst>
            </p:cNvPr>
            <p:cNvSpPr/>
            <p:nvPr/>
          </p:nvSpPr>
          <p:spPr>
            <a:xfrm>
              <a:off x="986938" y="1008373"/>
              <a:ext cx="926672" cy="926673"/>
            </a:xfrm>
            <a:custGeom>
              <a:avLst/>
              <a:gdLst>
                <a:gd name="connsiteX0" fmla="*/ 422196 w 428625"/>
                <a:gd name="connsiteY0" fmla="*/ 214551 h 428625"/>
                <a:gd name="connsiteX1" fmla="*/ 398383 w 428625"/>
                <a:gd name="connsiteY1" fmla="*/ 187881 h 428625"/>
                <a:gd name="connsiteX2" fmla="*/ 396478 w 428625"/>
                <a:gd name="connsiteY2" fmla="*/ 186928 h 428625"/>
                <a:gd name="connsiteX3" fmla="*/ 245031 w 428625"/>
                <a:gd name="connsiteY3" fmla="*/ 186928 h 428625"/>
                <a:gd name="connsiteX4" fmla="*/ 245031 w 428625"/>
                <a:gd name="connsiteY4" fmla="*/ 33576 h 428625"/>
                <a:gd name="connsiteX5" fmla="*/ 244078 w 428625"/>
                <a:gd name="connsiteY5" fmla="*/ 31671 h 428625"/>
                <a:gd name="connsiteX6" fmla="*/ 217408 w 428625"/>
                <a:gd name="connsiteY6" fmla="*/ 7858 h 428625"/>
                <a:gd name="connsiteX7" fmla="*/ 212646 w 428625"/>
                <a:gd name="connsiteY7" fmla="*/ 7858 h 428625"/>
                <a:gd name="connsiteX8" fmla="*/ 185976 w 428625"/>
                <a:gd name="connsiteY8" fmla="*/ 31671 h 428625"/>
                <a:gd name="connsiteX9" fmla="*/ 185023 w 428625"/>
                <a:gd name="connsiteY9" fmla="*/ 33576 h 428625"/>
                <a:gd name="connsiteX10" fmla="*/ 185023 w 428625"/>
                <a:gd name="connsiteY10" fmla="*/ 186928 h 428625"/>
                <a:gd name="connsiteX11" fmla="*/ 33576 w 428625"/>
                <a:gd name="connsiteY11" fmla="*/ 186928 h 428625"/>
                <a:gd name="connsiteX12" fmla="*/ 31671 w 428625"/>
                <a:gd name="connsiteY12" fmla="*/ 187881 h 428625"/>
                <a:gd name="connsiteX13" fmla="*/ 7858 w 428625"/>
                <a:gd name="connsiteY13" fmla="*/ 214551 h 428625"/>
                <a:gd name="connsiteX14" fmla="*/ 7858 w 428625"/>
                <a:gd name="connsiteY14" fmla="*/ 219313 h 428625"/>
                <a:gd name="connsiteX15" fmla="*/ 31671 w 428625"/>
                <a:gd name="connsiteY15" fmla="*/ 245983 h 428625"/>
                <a:gd name="connsiteX16" fmla="*/ 33576 w 428625"/>
                <a:gd name="connsiteY16" fmla="*/ 246936 h 428625"/>
                <a:gd name="connsiteX17" fmla="*/ 185023 w 428625"/>
                <a:gd name="connsiteY17" fmla="*/ 246936 h 428625"/>
                <a:gd name="connsiteX18" fmla="*/ 185023 w 428625"/>
                <a:gd name="connsiteY18" fmla="*/ 400288 h 428625"/>
                <a:gd name="connsiteX19" fmla="*/ 185976 w 428625"/>
                <a:gd name="connsiteY19" fmla="*/ 402193 h 428625"/>
                <a:gd name="connsiteX20" fmla="*/ 212646 w 428625"/>
                <a:gd name="connsiteY20" fmla="*/ 426006 h 428625"/>
                <a:gd name="connsiteX21" fmla="*/ 217408 w 428625"/>
                <a:gd name="connsiteY21" fmla="*/ 426006 h 428625"/>
                <a:gd name="connsiteX22" fmla="*/ 244078 w 428625"/>
                <a:gd name="connsiteY22" fmla="*/ 402193 h 428625"/>
                <a:gd name="connsiteX23" fmla="*/ 245031 w 428625"/>
                <a:gd name="connsiteY23" fmla="*/ 400288 h 428625"/>
                <a:gd name="connsiteX24" fmla="*/ 245031 w 428625"/>
                <a:gd name="connsiteY24" fmla="*/ 246936 h 428625"/>
                <a:gd name="connsiteX25" fmla="*/ 396478 w 428625"/>
                <a:gd name="connsiteY25" fmla="*/ 246936 h 428625"/>
                <a:gd name="connsiteX26" fmla="*/ 398383 w 428625"/>
                <a:gd name="connsiteY26" fmla="*/ 245983 h 428625"/>
                <a:gd name="connsiteX27" fmla="*/ 422196 w 428625"/>
                <a:gd name="connsiteY27" fmla="*/ 219313 h 428625"/>
                <a:gd name="connsiteX28" fmla="*/ 422196 w 428625"/>
                <a:gd name="connsiteY28" fmla="*/ 214551 h 428625"/>
                <a:gd name="connsiteX29" fmla="*/ 422196 w 428625"/>
                <a:gd name="connsiteY29" fmla="*/ 214551 h 428625"/>
                <a:gd name="connsiteX30" fmla="*/ 70723 w 428625"/>
                <a:gd name="connsiteY30" fmla="*/ 222171 h 428625"/>
                <a:gd name="connsiteX31" fmla="*/ 41196 w 428625"/>
                <a:gd name="connsiteY31" fmla="*/ 222171 h 428625"/>
                <a:gd name="connsiteX32" fmla="*/ 36433 w 428625"/>
                <a:gd name="connsiteY32" fmla="*/ 217408 h 428625"/>
                <a:gd name="connsiteX33" fmla="*/ 41196 w 428625"/>
                <a:gd name="connsiteY33" fmla="*/ 212646 h 428625"/>
                <a:gd name="connsiteX34" fmla="*/ 70723 w 428625"/>
                <a:gd name="connsiteY34" fmla="*/ 212646 h 428625"/>
                <a:gd name="connsiteX35" fmla="*/ 75486 w 428625"/>
                <a:gd name="connsiteY35" fmla="*/ 217408 h 428625"/>
                <a:gd name="connsiteX36" fmla="*/ 70723 w 428625"/>
                <a:gd name="connsiteY36" fmla="*/ 222171 h 428625"/>
                <a:gd name="connsiteX37" fmla="*/ 70723 w 428625"/>
                <a:gd name="connsiteY37" fmla="*/ 222171 h 428625"/>
                <a:gd name="connsiteX38" fmla="*/ 124063 w 428625"/>
                <a:gd name="connsiteY38" fmla="*/ 222171 h 428625"/>
                <a:gd name="connsiteX39" fmla="*/ 94536 w 428625"/>
                <a:gd name="connsiteY39" fmla="*/ 222171 h 428625"/>
                <a:gd name="connsiteX40" fmla="*/ 89773 w 428625"/>
                <a:gd name="connsiteY40" fmla="*/ 217408 h 428625"/>
                <a:gd name="connsiteX41" fmla="*/ 94536 w 428625"/>
                <a:gd name="connsiteY41" fmla="*/ 212646 h 428625"/>
                <a:gd name="connsiteX42" fmla="*/ 124063 w 428625"/>
                <a:gd name="connsiteY42" fmla="*/ 212646 h 428625"/>
                <a:gd name="connsiteX43" fmla="*/ 128826 w 428625"/>
                <a:gd name="connsiteY43" fmla="*/ 217408 h 428625"/>
                <a:gd name="connsiteX44" fmla="*/ 124063 w 428625"/>
                <a:gd name="connsiteY44" fmla="*/ 222171 h 428625"/>
                <a:gd name="connsiteX45" fmla="*/ 124063 w 428625"/>
                <a:gd name="connsiteY45" fmla="*/ 222171 h 428625"/>
                <a:gd name="connsiteX46" fmla="*/ 176451 w 428625"/>
                <a:gd name="connsiteY46" fmla="*/ 222171 h 428625"/>
                <a:gd name="connsiteX47" fmla="*/ 146923 w 428625"/>
                <a:gd name="connsiteY47" fmla="*/ 222171 h 428625"/>
                <a:gd name="connsiteX48" fmla="*/ 142161 w 428625"/>
                <a:gd name="connsiteY48" fmla="*/ 217408 h 428625"/>
                <a:gd name="connsiteX49" fmla="*/ 146923 w 428625"/>
                <a:gd name="connsiteY49" fmla="*/ 212646 h 428625"/>
                <a:gd name="connsiteX50" fmla="*/ 176451 w 428625"/>
                <a:gd name="connsiteY50" fmla="*/ 212646 h 428625"/>
                <a:gd name="connsiteX51" fmla="*/ 181213 w 428625"/>
                <a:gd name="connsiteY51" fmla="*/ 217408 h 428625"/>
                <a:gd name="connsiteX52" fmla="*/ 176451 w 428625"/>
                <a:gd name="connsiteY52" fmla="*/ 222171 h 428625"/>
                <a:gd name="connsiteX53" fmla="*/ 176451 w 428625"/>
                <a:gd name="connsiteY53" fmla="*/ 222171 h 428625"/>
                <a:gd name="connsiteX54" fmla="*/ 220266 w 428625"/>
                <a:gd name="connsiteY54" fmla="*/ 392668 h 428625"/>
                <a:gd name="connsiteX55" fmla="*/ 215503 w 428625"/>
                <a:gd name="connsiteY55" fmla="*/ 397431 h 428625"/>
                <a:gd name="connsiteX56" fmla="*/ 210741 w 428625"/>
                <a:gd name="connsiteY56" fmla="*/ 392668 h 428625"/>
                <a:gd name="connsiteX57" fmla="*/ 210741 w 428625"/>
                <a:gd name="connsiteY57" fmla="*/ 363141 h 428625"/>
                <a:gd name="connsiteX58" fmla="*/ 215503 w 428625"/>
                <a:gd name="connsiteY58" fmla="*/ 358378 h 428625"/>
                <a:gd name="connsiteX59" fmla="*/ 220266 w 428625"/>
                <a:gd name="connsiteY59" fmla="*/ 363141 h 428625"/>
                <a:gd name="connsiteX60" fmla="*/ 220266 w 428625"/>
                <a:gd name="connsiteY60" fmla="*/ 392668 h 428625"/>
                <a:gd name="connsiteX61" fmla="*/ 220266 w 428625"/>
                <a:gd name="connsiteY61" fmla="*/ 392668 h 428625"/>
                <a:gd name="connsiteX62" fmla="*/ 220266 w 428625"/>
                <a:gd name="connsiteY62" fmla="*/ 392668 h 428625"/>
                <a:gd name="connsiteX63" fmla="*/ 220266 w 428625"/>
                <a:gd name="connsiteY63" fmla="*/ 339328 h 428625"/>
                <a:gd name="connsiteX64" fmla="*/ 215503 w 428625"/>
                <a:gd name="connsiteY64" fmla="*/ 344091 h 428625"/>
                <a:gd name="connsiteX65" fmla="*/ 210741 w 428625"/>
                <a:gd name="connsiteY65" fmla="*/ 339328 h 428625"/>
                <a:gd name="connsiteX66" fmla="*/ 210741 w 428625"/>
                <a:gd name="connsiteY66" fmla="*/ 309801 h 428625"/>
                <a:gd name="connsiteX67" fmla="*/ 215503 w 428625"/>
                <a:gd name="connsiteY67" fmla="*/ 305038 h 428625"/>
                <a:gd name="connsiteX68" fmla="*/ 220266 w 428625"/>
                <a:gd name="connsiteY68" fmla="*/ 309801 h 428625"/>
                <a:gd name="connsiteX69" fmla="*/ 220266 w 428625"/>
                <a:gd name="connsiteY69" fmla="*/ 339328 h 428625"/>
                <a:gd name="connsiteX70" fmla="*/ 220266 w 428625"/>
                <a:gd name="connsiteY70" fmla="*/ 339328 h 428625"/>
                <a:gd name="connsiteX71" fmla="*/ 220266 w 428625"/>
                <a:gd name="connsiteY71" fmla="*/ 339328 h 428625"/>
                <a:gd name="connsiteX72" fmla="*/ 220266 w 428625"/>
                <a:gd name="connsiteY72" fmla="*/ 285988 h 428625"/>
                <a:gd name="connsiteX73" fmla="*/ 215503 w 428625"/>
                <a:gd name="connsiteY73" fmla="*/ 290751 h 428625"/>
                <a:gd name="connsiteX74" fmla="*/ 210741 w 428625"/>
                <a:gd name="connsiteY74" fmla="*/ 285988 h 428625"/>
                <a:gd name="connsiteX75" fmla="*/ 210741 w 428625"/>
                <a:gd name="connsiteY75" fmla="*/ 256461 h 428625"/>
                <a:gd name="connsiteX76" fmla="*/ 215503 w 428625"/>
                <a:gd name="connsiteY76" fmla="*/ 251698 h 428625"/>
                <a:gd name="connsiteX77" fmla="*/ 220266 w 428625"/>
                <a:gd name="connsiteY77" fmla="*/ 256461 h 428625"/>
                <a:gd name="connsiteX78" fmla="*/ 220266 w 428625"/>
                <a:gd name="connsiteY78" fmla="*/ 285988 h 428625"/>
                <a:gd name="connsiteX79" fmla="*/ 220266 w 428625"/>
                <a:gd name="connsiteY79" fmla="*/ 285988 h 428625"/>
                <a:gd name="connsiteX80" fmla="*/ 220266 w 428625"/>
                <a:gd name="connsiteY80" fmla="*/ 285988 h 428625"/>
                <a:gd name="connsiteX81" fmla="*/ 220266 w 428625"/>
                <a:gd name="connsiteY81" fmla="*/ 232648 h 428625"/>
                <a:gd name="connsiteX82" fmla="*/ 215503 w 428625"/>
                <a:gd name="connsiteY82" fmla="*/ 237411 h 428625"/>
                <a:gd name="connsiteX83" fmla="*/ 210741 w 428625"/>
                <a:gd name="connsiteY83" fmla="*/ 232648 h 428625"/>
                <a:gd name="connsiteX84" fmla="*/ 210741 w 428625"/>
                <a:gd name="connsiteY84" fmla="*/ 203121 h 428625"/>
                <a:gd name="connsiteX85" fmla="*/ 215503 w 428625"/>
                <a:gd name="connsiteY85" fmla="*/ 198358 h 428625"/>
                <a:gd name="connsiteX86" fmla="*/ 220266 w 428625"/>
                <a:gd name="connsiteY86" fmla="*/ 203121 h 428625"/>
                <a:gd name="connsiteX87" fmla="*/ 220266 w 428625"/>
                <a:gd name="connsiteY87" fmla="*/ 232648 h 428625"/>
                <a:gd name="connsiteX88" fmla="*/ 220266 w 428625"/>
                <a:gd name="connsiteY88" fmla="*/ 232648 h 428625"/>
                <a:gd name="connsiteX89" fmla="*/ 220266 w 428625"/>
                <a:gd name="connsiteY89" fmla="*/ 232648 h 428625"/>
                <a:gd name="connsiteX90" fmla="*/ 220266 w 428625"/>
                <a:gd name="connsiteY90" fmla="*/ 177403 h 428625"/>
                <a:gd name="connsiteX91" fmla="*/ 215503 w 428625"/>
                <a:gd name="connsiteY91" fmla="*/ 182166 h 428625"/>
                <a:gd name="connsiteX92" fmla="*/ 210741 w 428625"/>
                <a:gd name="connsiteY92" fmla="*/ 177403 h 428625"/>
                <a:gd name="connsiteX93" fmla="*/ 210741 w 428625"/>
                <a:gd name="connsiteY93" fmla="*/ 147876 h 428625"/>
                <a:gd name="connsiteX94" fmla="*/ 215503 w 428625"/>
                <a:gd name="connsiteY94" fmla="*/ 143113 h 428625"/>
                <a:gd name="connsiteX95" fmla="*/ 220266 w 428625"/>
                <a:gd name="connsiteY95" fmla="*/ 147876 h 428625"/>
                <a:gd name="connsiteX96" fmla="*/ 220266 w 428625"/>
                <a:gd name="connsiteY96" fmla="*/ 177403 h 428625"/>
                <a:gd name="connsiteX97" fmla="*/ 220266 w 428625"/>
                <a:gd name="connsiteY97" fmla="*/ 177403 h 428625"/>
                <a:gd name="connsiteX98" fmla="*/ 220266 w 428625"/>
                <a:gd name="connsiteY98" fmla="*/ 177403 h 428625"/>
                <a:gd name="connsiteX99" fmla="*/ 220266 w 428625"/>
                <a:gd name="connsiteY99" fmla="*/ 124063 h 428625"/>
                <a:gd name="connsiteX100" fmla="*/ 215503 w 428625"/>
                <a:gd name="connsiteY100" fmla="*/ 128826 h 428625"/>
                <a:gd name="connsiteX101" fmla="*/ 210741 w 428625"/>
                <a:gd name="connsiteY101" fmla="*/ 124063 h 428625"/>
                <a:gd name="connsiteX102" fmla="*/ 210741 w 428625"/>
                <a:gd name="connsiteY102" fmla="*/ 94536 h 428625"/>
                <a:gd name="connsiteX103" fmla="*/ 215503 w 428625"/>
                <a:gd name="connsiteY103" fmla="*/ 89773 h 428625"/>
                <a:gd name="connsiteX104" fmla="*/ 220266 w 428625"/>
                <a:gd name="connsiteY104" fmla="*/ 94536 h 428625"/>
                <a:gd name="connsiteX105" fmla="*/ 220266 w 428625"/>
                <a:gd name="connsiteY105" fmla="*/ 124063 h 428625"/>
                <a:gd name="connsiteX106" fmla="*/ 220266 w 428625"/>
                <a:gd name="connsiteY106" fmla="*/ 124063 h 428625"/>
                <a:gd name="connsiteX107" fmla="*/ 220266 w 428625"/>
                <a:gd name="connsiteY107" fmla="*/ 124063 h 428625"/>
                <a:gd name="connsiteX108" fmla="*/ 220266 w 428625"/>
                <a:gd name="connsiteY108" fmla="*/ 70723 h 428625"/>
                <a:gd name="connsiteX109" fmla="*/ 215503 w 428625"/>
                <a:gd name="connsiteY109" fmla="*/ 75486 h 428625"/>
                <a:gd name="connsiteX110" fmla="*/ 210741 w 428625"/>
                <a:gd name="connsiteY110" fmla="*/ 70723 h 428625"/>
                <a:gd name="connsiteX111" fmla="*/ 210741 w 428625"/>
                <a:gd name="connsiteY111" fmla="*/ 41196 h 428625"/>
                <a:gd name="connsiteX112" fmla="*/ 215503 w 428625"/>
                <a:gd name="connsiteY112" fmla="*/ 36433 h 428625"/>
                <a:gd name="connsiteX113" fmla="*/ 220266 w 428625"/>
                <a:gd name="connsiteY113" fmla="*/ 41196 h 428625"/>
                <a:gd name="connsiteX114" fmla="*/ 220266 w 428625"/>
                <a:gd name="connsiteY114" fmla="*/ 70723 h 428625"/>
                <a:gd name="connsiteX115" fmla="*/ 220266 w 428625"/>
                <a:gd name="connsiteY115" fmla="*/ 70723 h 428625"/>
                <a:gd name="connsiteX116" fmla="*/ 220266 w 428625"/>
                <a:gd name="connsiteY116" fmla="*/ 70723 h 428625"/>
                <a:gd name="connsiteX117" fmla="*/ 284083 w 428625"/>
                <a:gd name="connsiteY117" fmla="*/ 222171 h 428625"/>
                <a:gd name="connsiteX118" fmla="*/ 254556 w 428625"/>
                <a:gd name="connsiteY118" fmla="*/ 222171 h 428625"/>
                <a:gd name="connsiteX119" fmla="*/ 249793 w 428625"/>
                <a:gd name="connsiteY119" fmla="*/ 217408 h 428625"/>
                <a:gd name="connsiteX120" fmla="*/ 254556 w 428625"/>
                <a:gd name="connsiteY120" fmla="*/ 212646 h 428625"/>
                <a:gd name="connsiteX121" fmla="*/ 284083 w 428625"/>
                <a:gd name="connsiteY121" fmla="*/ 212646 h 428625"/>
                <a:gd name="connsiteX122" fmla="*/ 288846 w 428625"/>
                <a:gd name="connsiteY122" fmla="*/ 217408 h 428625"/>
                <a:gd name="connsiteX123" fmla="*/ 284083 w 428625"/>
                <a:gd name="connsiteY123" fmla="*/ 222171 h 428625"/>
                <a:gd name="connsiteX124" fmla="*/ 284083 w 428625"/>
                <a:gd name="connsiteY124" fmla="*/ 222171 h 428625"/>
                <a:gd name="connsiteX125" fmla="*/ 336471 w 428625"/>
                <a:gd name="connsiteY125" fmla="*/ 222171 h 428625"/>
                <a:gd name="connsiteX126" fmla="*/ 306943 w 428625"/>
                <a:gd name="connsiteY126" fmla="*/ 222171 h 428625"/>
                <a:gd name="connsiteX127" fmla="*/ 302181 w 428625"/>
                <a:gd name="connsiteY127" fmla="*/ 217408 h 428625"/>
                <a:gd name="connsiteX128" fmla="*/ 306943 w 428625"/>
                <a:gd name="connsiteY128" fmla="*/ 212646 h 428625"/>
                <a:gd name="connsiteX129" fmla="*/ 336471 w 428625"/>
                <a:gd name="connsiteY129" fmla="*/ 212646 h 428625"/>
                <a:gd name="connsiteX130" fmla="*/ 341233 w 428625"/>
                <a:gd name="connsiteY130" fmla="*/ 217408 h 428625"/>
                <a:gd name="connsiteX131" fmla="*/ 336471 w 428625"/>
                <a:gd name="connsiteY131" fmla="*/ 222171 h 428625"/>
                <a:gd name="connsiteX132" fmla="*/ 336471 w 428625"/>
                <a:gd name="connsiteY132" fmla="*/ 222171 h 428625"/>
                <a:gd name="connsiteX133" fmla="*/ 389811 w 428625"/>
                <a:gd name="connsiteY133" fmla="*/ 222171 h 428625"/>
                <a:gd name="connsiteX134" fmla="*/ 360283 w 428625"/>
                <a:gd name="connsiteY134" fmla="*/ 222171 h 428625"/>
                <a:gd name="connsiteX135" fmla="*/ 355521 w 428625"/>
                <a:gd name="connsiteY135" fmla="*/ 217408 h 428625"/>
                <a:gd name="connsiteX136" fmla="*/ 360283 w 428625"/>
                <a:gd name="connsiteY136" fmla="*/ 212646 h 428625"/>
                <a:gd name="connsiteX137" fmla="*/ 389811 w 428625"/>
                <a:gd name="connsiteY137" fmla="*/ 212646 h 428625"/>
                <a:gd name="connsiteX138" fmla="*/ 394573 w 428625"/>
                <a:gd name="connsiteY138" fmla="*/ 217408 h 428625"/>
                <a:gd name="connsiteX139" fmla="*/ 389811 w 428625"/>
                <a:gd name="connsiteY139" fmla="*/ 222171 h 428625"/>
                <a:gd name="connsiteX140" fmla="*/ 389811 w 428625"/>
                <a:gd name="connsiteY140" fmla="*/ 222171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428625" h="428625">
                  <a:moveTo>
                    <a:pt x="422196" y="214551"/>
                  </a:moveTo>
                  <a:cubicBezTo>
                    <a:pt x="398383" y="187881"/>
                    <a:pt x="398383" y="187881"/>
                    <a:pt x="398383" y="187881"/>
                  </a:cubicBezTo>
                  <a:cubicBezTo>
                    <a:pt x="398383" y="186928"/>
                    <a:pt x="397431" y="186928"/>
                    <a:pt x="396478" y="186928"/>
                  </a:cubicBezTo>
                  <a:cubicBezTo>
                    <a:pt x="245031" y="186928"/>
                    <a:pt x="245031" y="186928"/>
                    <a:pt x="245031" y="186928"/>
                  </a:cubicBezTo>
                  <a:cubicBezTo>
                    <a:pt x="245031" y="33576"/>
                    <a:pt x="245031" y="33576"/>
                    <a:pt x="245031" y="33576"/>
                  </a:cubicBezTo>
                  <a:cubicBezTo>
                    <a:pt x="245031" y="32623"/>
                    <a:pt x="245031" y="31671"/>
                    <a:pt x="244078" y="31671"/>
                  </a:cubicBezTo>
                  <a:cubicBezTo>
                    <a:pt x="217408" y="7858"/>
                    <a:pt x="217408" y="7858"/>
                    <a:pt x="217408" y="7858"/>
                  </a:cubicBezTo>
                  <a:cubicBezTo>
                    <a:pt x="216456" y="6906"/>
                    <a:pt x="214551" y="6906"/>
                    <a:pt x="212646" y="7858"/>
                  </a:cubicBezTo>
                  <a:cubicBezTo>
                    <a:pt x="185976" y="31671"/>
                    <a:pt x="185976" y="31671"/>
                    <a:pt x="185976" y="31671"/>
                  </a:cubicBezTo>
                  <a:cubicBezTo>
                    <a:pt x="185023" y="31671"/>
                    <a:pt x="185023" y="32623"/>
                    <a:pt x="185023" y="33576"/>
                  </a:cubicBezTo>
                  <a:cubicBezTo>
                    <a:pt x="185023" y="186928"/>
                    <a:pt x="185023" y="186928"/>
                    <a:pt x="185023" y="186928"/>
                  </a:cubicBezTo>
                  <a:cubicBezTo>
                    <a:pt x="33576" y="186928"/>
                    <a:pt x="33576" y="186928"/>
                    <a:pt x="33576" y="186928"/>
                  </a:cubicBezTo>
                  <a:cubicBezTo>
                    <a:pt x="32623" y="186928"/>
                    <a:pt x="31671" y="186928"/>
                    <a:pt x="31671" y="187881"/>
                  </a:cubicBezTo>
                  <a:cubicBezTo>
                    <a:pt x="7858" y="214551"/>
                    <a:pt x="7858" y="214551"/>
                    <a:pt x="7858" y="214551"/>
                  </a:cubicBezTo>
                  <a:cubicBezTo>
                    <a:pt x="6906" y="215503"/>
                    <a:pt x="6906" y="217408"/>
                    <a:pt x="7858" y="219313"/>
                  </a:cubicBezTo>
                  <a:cubicBezTo>
                    <a:pt x="31671" y="245983"/>
                    <a:pt x="31671" y="245983"/>
                    <a:pt x="31671" y="245983"/>
                  </a:cubicBezTo>
                  <a:cubicBezTo>
                    <a:pt x="31671" y="246936"/>
                    <a:pt x="32623" y="246936"/>
                    <a:pt x="33576" y="246936"/>
                  </a:cubicBezTo>
                  <a:cubicBezTo>
                    <a:pt x="185023" y="246936"/>
                    <a:pt x="185023" y="246936"/>
                    <a:pt x="185023" y="246936"/>
                  </a:cubicBezTo>
                  <a:cubicBezTo>
                    <a:pt x="185023" y="400288"/>
                    <a:pt x="185023" y="400288"/>
                    <a:pt x="185023" y="400288"/>
                  </a:cubicBezTo>
                  <a:cubicBezTo>
                    <a:pt x="185023" y="401241"/>
                    <a:pt x="185023" y="402193"/>
                    <a:pt x="185976" y="402193"/>
                  </a:cubicBezTo>
                  <a:cubicBezTo>
                    <a:pt x="212646" y="426006"/>
                    <a:pt x="212646" y="426006"/>
                    <a:pt x="212646" y="426006"/>
                  </a:cubicBezTo>
                  <a:cubicBezTo>
                    <a:pt x="213598" y="426958"/>
                    <a:pt x="215503" y="426958"/>
                    <a:pt x="217408" y="426006"/>
                  </a:cubicBezTo>
                  <a:cubicBezTo>
                    <a:pt x="244078" y="402193"/>
                    <a:pt x="244078" y="402193"/>
                    <a:pt x="244078" y="402193"/>
                  </a:cubicBezTo>
                  <a:cubicBezTo>
                    <a:pt x="245031" y="402193"/>
                    <a:pt x="245031" y="401241"/>
                    <a:pt x="245031" y="400288"/>
                  </a:cubicBezTo>
                  <a:cubicBezTo>
                    <a:pt x="245031" y="246936"/>
                    <a:pt x="245031" y="246936"/>
                    <a:pt x="245031" y="246936"/>
                  </a:cubicBezTo>
                  <a:cubicBezTo>
                    <a:pt x="396478" y="246936"/>
                    <a:pt x="396478" y="246936"/>
                    <a:pt x="396478" y="246936"/>
                  </a:cubicBezTo>
                  <a:cubicBezTo>
                    <a:pt x="397431" y="246936"/>
                    <a:pt x="398383" y="246936"/>
                    <a:pt x="398383" y="245983"/>
                  </a:cubicBezTo>
                  <a:cubicBezTo>
                    <a:pt x="422196" y="219313"/>
                    <a:pt x="422196" y="219313"/>
                    <a:pt x="422196" y="219313"/>
                  </a:cubicBezTo>
                  <a:cubicBezTo>
                    <a:pt x="424101" y="217408"/>
                    <a:pt x="424101" y="215503"/>
                    <a:pt x="422196" y="214551"/>
                  </a:cubicBezTo>
                  <a:lnTo>
                    <a:pt x="422196" y="214551"/>
                  </a:lnTo>
                  <a:close/>
                  <a:moveTo>
                    <a:pt x="70723" y="222171"/>
                  </a:moveTo>
                  <a:cubicBezTo>
                    <a:pt x="41196" y="222171"/>
                    <a:pt x="41196" y="222171"/>
                    <a:pt x="41196" y="222171"/>
                  </a:cubicBezTo>
                  <a:cubicBezTo>
                    <a:pt x="38338" y="222171"/>
                    <a:pt x="36433" y="220266"/>
                    <a:pt x="36433" y="217408"/>
                  </a:cubicBezTo>
                  <a:cubicBezTo>
                    <a:pt x="36433" y="214551"/>
                    <a:pt x="38338" y="212646"/>
                    <a:pt x="41196" y="212646"/>
                  </a:cubicBezTo>
                  <a:cubicBezTo>
                    <a:pt x="70723" y="212646"/>
                    <a:pt x="70723" y="212646"/>
                    <a:pt x="70723" y="212646"/>
                  </a:cubicBezTo>
                  <a:cubicBezTo>
                    <a:pt x="73581" y="212646"/>
                    <a:pt x="75486" y="214551"/>
                    <a:pt x="75486" y="217408"/>
                  </a:cubicBezTo>
                  <a:cubicBezTo>
                    <a:pt x="76438" y="219313"/>
                    <a:pt x="73581" y="222171"/>
                    <a:pt x="70723" y="222171"/>
                  </a:cubicBezTo>
                  <a:lnTo>
                    <a:pt x="70723" y="222171"/>
                  </a:lnTo>
                  <a:close/>
                  <a:moveTo>
                    <a:pt x="124063" y="222171"/>
                  </a:moveTo>
                  <a:cubicBezTo>
                    <a:pt x="94536" y="222171"/>
                    <a:pt x="94536" y="222171"/>
                    <a:pt x="94536" y="222171"/>
                  </a:cubicBezTo>
                  <a:cubicBezTo>
                    <a:pt x="91678" y="222171"/>
                    <a:pt x="89773" y="220266"/>
                    <a:pt x="89773" y="217408"/>
                  </a:cubicBezTo>
                  <a:cubicBezTo>
                    <a:pt x="89773" y="214551"/>
                    <a:pt x="91678" y="212646"/>
                    <a:pt x="94536" y="212646"/>
                  </a:cubicBezTo>
                  <a:cubicBezTo>
                    <a:pt x="124063" y="212646"/>
                    <a:pt x="124063" y="212646"/>
                    <a:pt x="124063" y="212646"/>
                  </a:cubicBezTo>
                  <a:cubicBezTo>
                    <a:pt x="126921" y="212646"/>
                    <a:pt x="128826" y="214551"/>
                    <a:pt x="128826" y="217408"/>
                  </a:cubicBezTo>
                  <a:cubicBezTo>
                    <a:pt x="128826" y="219313"/>
                    <a:pt x="126921" y="222171"/>
                    <a:pt x="124063" y="222171"/>
                  </a:cubicBezTo>
                  <a:lnTo>
                    <a:pt x="124063" y="222171"/>
                  </a:lnTo>
                  <a:close/>
                  <a:moveTo>
                    <a:pt x="176451" y="222171"/>
                  </a:moveTo>
                  <a:cubicBezTo>
                    <a:pt x="146923" y="222171"/>
                    <a:pt x="146923" y="222171"/>
                    <a:pt x="146923" y="222171"/>
                  </a:cubicBezTo>
                  <a:cubicBezTo>
                    <a:pt x="144066" y="222171"/>
                    <a:pt x="142161" y="220266"/>
                    <a:pt x="142161" y="217408"/>
                  </a:cubicBezTo>
                  <a:cubicBezTo>
                    <a:pt x="142161" y="214551"/>
                    <a:pt x="144066" y="212646"/>
                    <a:pt x="146923" y="212646"/>
                  </a:cubicBezTo>
                  <a:cubicBezTo>
                    <a:pt x="176451" y="212646"/>
                    <a:pt x="176451" y="212646"/>
                    <a:pt x="176451" y="212646"/>
                  </a:cubicBezTo>
                  <a:cubicBezTo>
                    <a:pt x="179308" y="212646"/>
                    <a:pt x="181213" y="214551"/>
                    <a:pt x="181213" y="217408"/>
                  </a:cubicBezTo>
                  <a:cubicBezTo>
                    <a:pt x="181213" y="219313"/>
                    <a:pt x="179308" y="222171"/>
                    <a:pt x="176451" y="222171"/>
                  </a:cubicBezTo>
                  <a:lnTo>
                    <a:pt x="176451" y="222171"/>
                  </a:lnTo>
                  <a:close/>
                  <a:moveTo>
                    <a:pt x="220266" y="392668"/>
                  </a:moveTo>
                  <a:cubicBezTo>
                    <a:pt x="220266" y="395526"/>
                    <a:pt x="218361" y="397431"/>
                    <a:pt x="215503" y="397431"/>
                  </a:cubicBezTo>
                  <a:cubicBezTo>
                    <a:pt x="212646" y="397431"/>
                    <a:pt x="210741" y="395526"/>
                    <a:pt x="210741" y="392668"/>
                  </a:cubicBezTo>
                  <a:cubicBezTo>
                    <a:pt x="210741" y="363141"/>
                    <a:pt x="210741" y="363141"/>
                    <a:pt x="210741" y="363141"/>
                  </a:cubicBezTo>
                  <a:cubicBezTo>
                    <a:pt x="210741" y="360283"/>
                    <a:pt x="212646" y="358378"/>
                    <a:pt x="215503" y="358378"/>
                  </a:cubicBezTo>
                  <a:cubicBezTo>
                    <a:pt x="218361" y="358378"/>
                    <a:pt x="220266" y="360283"/>
                    <a:pt x="220266" y="363141"/>
                  </a:cubicBezTo>
                  <a:lnTo>
                    <a:pt x="220266" y="392668"/>
                  </a:lnTo>
                  <a:lnTo>
                    <a:pt x="220266" y="392668"/>
                  </a:lnTo>
                  <a:lnTo>
                    <a:pt x="220266" y="392668"/>
                  </a:lnTo>
                  <a:close/>
                  <a:moveTo>
                    <a:pt x="220266" y="339328"/>
                  </a:moveTo>
                  <a:cubicBezTo>
                    <a:pt x="220266" y="342186"/>
                    <a:pt x="218361" y="344091"/>
                    <a:pt x="215503" y="344091"/>
                  </a:cubicBezTo>
                  <a:cubicBezTo>
                    <a:pt x="212646" y="344091"/>
                    <a:pt x="210741" y="342186"/>
                    <a:pt x="210741" y="339328"/>
                  </a:cubicBezTo>
                  <a:cubicBezTo>
                    <a:pt x="210741" y="309801"/>
                    <a:pt x="210741" y="309801"/>
                    <a:pt x="210741" y="309801"/>
                  </a:cubicBezTo>
                  <a:cubicBezTo>
                    <a:pt x="210741" y="306943"/>
                    <a:pt x="212646" y="305038"/>
                    <a:pt x="215503" y="305038"/>
                  </a:cubicBezTo>
                  <a:cubicBezTo>
                    <a:pt x="218361" y="305038"/>
                    <a:pt x="220266" y="306943"/>
                    <a:pt x="220266" y="309801"/>
                  </a:cubicBezTo>
                  <a:lnTo>
                    <a:pt x="220266" y="339328"/>
                  </a:lnTo>
                  <a:lnTo>
                    <a:pt x="220266" y="339328"/>
                  </a:lnTo>
                  <a:lnTo>
                    <a:pt x="220266" y="339328"/>
                  </a:lnTo>
                  <a:close/>
                  <a:moveTo>
                    <a:pt x="220266" y="285988"/>
                  </a:moveTo>
                  <a:cubicBezTo>
                    <a:pt x="220266" y="288846"/>
                    <a:pt x="218361" y="290751"/>
                    <a:pt x="215503" y="290751"/>
                  </a:cubicBezTo>
                  <a:cubicBezTo>
                    <a:pt x="212646" y="290751"/>
                    <a:pt x="210741" y="288846"/>
                    <a:pt x="210741" y="285988"/>
                  </a:cubicBezTo>
                  <a:cubicBezTo>
                    <a:pt x="210741" y="256461"/>
                    <a:pt x="210741" y="256461"/>
                    <a:pt x="210741" y="256461"/>
                  </a:cubicBezTo>
                  <a:cubicBezTo>
                    <a:pt x="210741" y="253603"/>
                    <a:pt x="212646" y="251698"/>
                    <a:pt x="215503" y="251698"/>
                  </a:cubicBezTo>
                  <a:cubicBezTo>
                    <a:pt x="218361" y="251698"/>
                    <a:pt x="220266" y="253603"/>
                    <a:pt x="220266" y="256461"/>
                  </a:cubicBezTo>
                  <a:lnTo>
                    <a:pt x="220266" y="285988"/>
                  </a:lnTo>
                  <a:lnTo>
                    <a:pt x="220266" y="285988"/>
                  </a:lnTo>
                  <a:lnTo>
                    <a:pt x="220266" y="285988"/>
                  </a:lnTo>
                  <a:close/>
                  <a:moveTo>
                    <a:pt x="220266" y="232648"/>
                  </a:moveTo>
                  <a:cubicBezTo>
                    <a:pt x="220266" y="235506"/>
                    <a:pt x="218361" y="237411"/>
                    <a:pt x="215503" y="237411"/>
                  </a:cubicBezTo>
                  <a:cubicBezTo>
                    <a:pt x="212646" y="237411"/>
                    <a:pt x="210741" y="235506"/>
                    <a:pt x="210741" y="232648"/>
                  </a:cubicBezTo>
                  <a:cubicBezTo>
                    <a:pt x="210741" y="203121"/>
                    <a:pt x="210741" y="203121"/>
                    <a:pt x="210741" y="203121"/>
                  </a:cubicBezTo>
                  <a:cubicBezTo>
                    <a:pt x="210741" y="200263"/>
                    <a:pt x="212646" y="198358"/>
                    <a:pt x="215503" y="198358"/>
                  </a:cubicBezTo>
                  <a:cubicBezTo>
                    <a:pt x="218361" y="198358"/>
                    <a:pt x="220266" y="200263"/>
                    <a:pt x="220266" y="203121"/>
                  </a:cubicBezTo>
                  <a:lnTo>
                    <a:pt x="220266" y="232648"/>
                  </a:lnTo>
                  <a:lnTo>
                    <a:pt x="220266" y="232648"/>
                  </a:lnTo>
                  <a:lnTo>
                    <a:pt x="220266" y="232648"/>
                  </a:lnTo>
                  <a:close/>
                  <a:moveTo>
                    <a:pt x="220266" y="177403"/>
                  </a:moveTo>
                  <a:cubicBezTo>
                    <a:pt x="220266" y="180261"/>
                    <a:pt x="218361" y="182166"/>
                    <a:pt x="215503" y="182166"/>
                  </a:cubicBezTo>
                  <a:cubicBezTo>
                    <a:pt x="212646" y="182166"/>
                    <a:pt x="210741" y="180261"/>
                    <a:pt x="210741" y="177403"/>
                  </a:cubicBezTo>
                  <a:cubicBezTo>
                    <a:pt x="210741" y="147876"/>
                    <a:pt x="210741" y="147876"/>
                    <a:pt x="210741" y="147876"/>
                  </a:cubicBezTo>
                  <a:cubicBezTo>
                    <a:pt x="210741" y="145018"/>
                    <a:pt x="212646" y="143113"/>
                    <a:pt x="215503" y="143113"/>
                  </a:cubicBezTo>
                  <a:cubicBezTo>
                    <a:pt x="218361" y="143113"/>
                    <a:pt x="220266" y="145018"/>
                    <a:pt x="220266" y="147876"/>
                  </a:cubicBezTo>
                  <a:lnTo>
                    <a:pt x="220266" y="177403"/>
                  </a:lnTo>
                  <a:lnTo>
                    <a:pt x="220266" y="177403"/>
                  </a:lnTo>
                  <a:lnTo>
                    <a:pt x="220266" y="177403"/>
                  </a:lnTo>
                  <a:close/>
                  <a:moveTo>
                    <a:pt x="220266" y="124063"/>
                  </a:moveTo>
                  <a:cubicBezTo>
                    <a:pt x="220266" y="126921"/>
                    <a:pt x="218361" y="128826"/>
                    <a:pt x="215503" y="128826"/>
                  </a:cubicBezTo>
                  <a:cubicBezTo>
                    <a:pt x="212646" y="128826"/>
                    <a:pt x="210741" y="126921"/>
                    <a:pt x="210741" y="124063"/>
                  </a:cubicBezTo>
                  <a:cubicBezTo>
                    <a:pt x="210741" y="94536"/>
                    <a:pt x="210741" y="94536"/>
                    <a:pt x="210741" y="94536"/>
                  </a:cubicBezTo>
                  <a:cubicBezTo>
                    <a:pt x="210741" y="91678"/>
                    <a:pt x="212646" y="89773"/>
                    <a:pt x="215503" y="89773"/>
                  </a:cubicBezTo>
                  <a:cubicBezTo>
                    <a:pt x="218361" y="89773"/>
                    <a:pt x="220266" y="91678"/>
                    <a:pt x="220266" y="94536"/>
                  </a:cubicBezTo>
                  <a:lnTo>
                    <a:pt x="220266" y="124063"/>
                  </a:lnTo>
                  <a:lnTo>
                    <a:pt x="220266" y="124063"/>
                  </a:lnTo>
                  <a:lnTo>
                    <a:pt x="220266" y="124063"/>
                  </a:lnTo>
                  <a:close/>
                  <a:moveTo>
                    <a:pt x="220266" y="70723"/>
                  </a:moveTo>
                  <a:cubicBezTo>
                    <a:pt x="220266" y="73581"/>
                    <a:pt x="218361" y="75486"/>
                    <a:pt x="215503" y="75486"/>
                  </a:cubicBezTo>
                  <a:cubicBezTo>
                    <a:pt x="212646" y="75486"/>
                    <a:pt x="210741" y="73581"/>
                    <a:pt x="210741" y="70723"/>
                  </a:cubicBezTo>
                  <a:cubicBezTo>
                    <a:pt x="210741" y="41196"/>
                    <a:pt x="210741" y="41196"/>
                    <a:pt x="210741" y="41196"/>
                  </a:cubicBezTo>
                  <a:cubicBezTo>
                    <a:pt x="210741" y="38338"/>
                    <a:pt x="212646" y="36433"/>
                    <a:pt x="215503" y="36433"/>
                  </a:cubicBezTo>
                  <a:cubicBezTo>
                    <a:pt x="218361" y="36433"/>
                    <a:pt x="220266" y="38338"/>
                    <a:pt x="220266" y="41196"/>
                  </a:cubicBezTo>
                  <a:lnTo>
                    <a:pt x="220266" y="70723"/>
                  </a:lnTo>
                  <a:lnTo>
                    <a:pt x="220266" y="70723"/>
                  </a:lnTo>
                  <a:lnTo>
                    <a:pt x="220266" y="70723"/>
                  </a:lnTo>
                  <a:close/>
                  <a:moveTo>
                    <a:pt x="284083" y="222171"/>
                  </a:moveTo>
                  <a:cubicBezTo>
                    <a:pt x="254556" y="222171"/>
                    <a:pt x="254556" y="222171"/>
                    <a:pt x="254556" y="222171"/>
                  </a:cubicBezTo>
                  <a:cubicBezTo>
                    <a:pt x="251698" y="222171"/>
                    <a:pt x="249793" y="220266"/>
                    <a:pt x="249793" y="217408"/>
                  </a:cubicBezTo>
                  <a:cubicBezTo>
                    <a:pt x="249793" y="214551"/>
                    <a:pt x="251698" y="212646"/>
                    <a:pt x="254556" y="212646"/>
                  </a:cubicBezTo>
                  <a:cubicBezTo>
                    <a:pt x="284083" y="212646"/>
                    <a:pt x="284083" y="212646"/>
                    <a:pt x="284083" y="212646"/>
                  </a:cubicBezTo>
                  <a:cubicBezTo>
                    <a:pt x="286941" y="212646"/>
                    <a:pt x="288846" y="214551"/>
                    <a:pt x="288846" y="217408"/>
                  </a:cubicBezTo>
                  <a:cubicBezTo>
                    <a:pt x="288846" y="219313"/>
                    <a:pt x="286941" y="222171"/>
                    <a:pt x="284083" y="222171"/>
                  </a:cubicBezTo>
                  <a:lnTo>
                    <a:pt x="284083" y="222171"/>
                  </a:lnTo>
                  <a:close/>
                  <a:moveTo>
                    <a:pt x="336471" y="222171"/>
                  </a:moveTo>
                  <a:cubicBezTo>
                    <a:pt x="306943" y="222171"/>
                    <a:pt x="306943" y="222171"/>
                    <a:pt x="306943" y="222171"/>
                  </a:cubicBezTo>
                  <a:cubicBezTo>
                    <a:pt x="304086" y="222171"/>
                    <a:pt x="302181" y="220266"/>
                    <a:pt x="302181" y="217408"/>
                  </a:cubicBezTo>
                  <a:cubicBezTo>
                    <a:pt x="302181" y="214551"/>
                    <a:pt x="304086" y="212646"/>
                    <a:pt x="306943" y="212646"/>
                  </a:cubicBezTo>
                  <a:cubicBezTo>
                    <a:pt x="336471" y="212646"/>
                    <a:pt x="336471" y="212646"/>
                    <a:pt x="336471" y="212646"/>
                  </a:cubicBezTo>
                  <a:cubicBezTo>
                    <a:pt x="339328" y="212646"/>
                    <a:pt x="341233" y="214551"/>
                    <a:pt x="341233" y="217408"/>
                  </a:cubicBezTo>
                  <a:cubicBezTo>
                    <a:pt x="342186" y="219313"/>
                    <a:pt x="339328" y="222171"/>
                    <a:pt x="336471" y="222171"/>
                  </a:cubicBezTo>
                  <a:lnTo>
                    <a:pt x="336471" y="222171"/>
                  </a:lnTo>
                  <a:close/>
                  <a:moveTo>
                    <a:pt x="389811" y="222171"/>
                  </a:moveTo>
                  <a:cubicBezTo>
                    <a:pt x="360283" y="222171"/>
                    <a:pt x="360283" y="222171"/>
                    <a:pt x="360283" y="222171"/>
                  </a:cubicBezTo>
                  <a:cubicBezTo>
                    <a:pt x="357426" y="222171"/>
                    <a:pt x="355521" y="220266"/>
                    <a:pt x="355521" y="217408"/>
                  </a:cubicBezTo>
                  <a:cubicBezTo>
                    <a:pt x="355521" y="214551"/>
                    <a:pt x="357426" y="212646"/>
                    <a:pt x="360283" y="212646"/>
                  </a:cubicBezTo>
                  <a:cubicBezTo>
                    <a:pt x="389811" y="212646"/>
                    <a:pt x="389811" y="212646"/>
                    <a:pt x="389811" y="212646"/>
                  </a:cubicBezTo>
                  <a:cubicBezTo>
                    <a:pt x="392668" y="212646"/>
                    <a:pt x="394573" y="214551"/>
                    <a:pt x="394573" y="217408"/>
                  </a:cubicBezTo>
                  <a:cubicBezTo>
                    <a:pt x="394573" y="219313"/>
                    <a:pt x="392668" y="222171"/>
                    <a:pt x="389811" y="222171"/>
                  </a:cubicBezTo>
                  <a:lnTo>
                    <a:pt x="389811" y="222171"/>
                  </a:lnTo>
                  <a:close/>
                </a:path>
              </a:pathLst>
            </a:custGeom>
            <a:solidFill>
              <a:srgbClr val="FFFFFF"/>
            </a:solid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76FA5BF4-D4A0-49C9-B646-094605404AE2}"/>
                </a:ext>
              </a:extLst>
            </p:cNvPr>
            <p:cNvSpPr/>
            <p:nvPr/>
          </p:nvSpPr>
          <p:spPr>
            <a:xfrm>
              <a:off x="1163520" y="1187015"/>
              <a:ext cx="576596" cy="576597"/>
            </a:xfrm>
            <a:custGeom>
              <a:avLst/>
              <a:gdLst>
                <a:gd name="connsiteX0" fmla="*/ 174784 w 266700"/>
                <a:gd name="connsiteY0" fmla="*/ 174784 h 266700"/>
                <a:gd name="connsiteX1" fmla="*/ 261461 w 266700"/>
                <a:gd name="connsiteY1" fmla="*/ 174784 h 266700"/>
                <a:gd name="connsiteX2" fmla="*/ 261461 w 266700"/>
                <a:gd name="connsiteY2" fmla="*/ 185261 h 266700"/>
                <a:gd name="connsiteX3" fmla="*/ 185261 w 266700"/>
                <a:gd name="connsiteY3" fmla="*/ 185261 h 266700"/>
                <a:gd name="connsiteX4" fmla="*/ 185261 w 266700"/>
                <a:gd name="connsiteY4" fmla="*/ 263366 h 266700"/>
                <a:gd name="connsiteX5" fmla="*/ 174784 w 266700"/>
                <a:gd name="connsiteY5" fmla="*/ 263366 h 266700"/>
                <a:gd name="connsiteX6" fmla="*/ 174784 w 266700"/>
                <a:gd name="connsiteY6" fmla="*/ 174784 h 266700"/>
                <a:gd name="connsiteX7" fmla="*/ 174784 w 266700"/>
                <a:gd name="connsiteY7" fmla="*/ 174784 h 266700"/>
                <a:gd name="connsiteX8" fmla="*/ 174784 w 266700"/>
                <a:gd name="connsiteY8" fmla="*/ 174784 h 266700"/>
                <a:gd name="connsiteX9" fmla="*/ 184309 w 266700"/>
                <a:gd name="connsiteY9" fmla="*/ 84296 h 266700"/>
                <a:gd name="connsiteX10" fmla="*/ 184309 w 266700"/>
                <a:gd name="connsiteY10" fmla="*/ 8096 h 266700"/>
                <a:gd name="connsiteX11" fmla="*/ 173831 w 266700"/>
                <a:gd name="connsiteY11" fmla="*/ 8096 h 266700"/>
                <a:gd name="connsiteX12" fmla="*/ 173831 w 266700"/>
                <a:gd name="connsiteY12" fmla="*/ 94774 h 266700"/>
                <a:gd name="connsiteX13" fmla="*/ 260509 w 266700"/>
                <a:gd name="connsiteY13" fmla="*/ 94774 h 266700"/>
                <a:gd name="connsiteX14" fmla="*/ 260509 w 266700"/>
                <a:gd name="connsiteY14" fmla="*/ 84296 h 266700"/>
                <a:gd name="connsiteX15" fmla="*/ 184309 w 266700"/>
                <a:gd name="connsiteY15" fmla="*/ 84296 h 266700"/>
                <a:gd name="connsiteX16" fmla="*/ 184309 w 266700"/>
                <a:gd name="connsiteY16" fmla="*/ 84296 h 266700"/>
                <a:gd name="connsiteX17" fmla="*/ 184309 w 266700"/>
                <a:gd name="connsiteY17" fmla="*/ 84296 h 266700"/>
                <a:gd name="connsiteX18" fmla="*/ 7144 w 266700"/>
                <a:gd name="connsiteY18" fmla="*/ 185261 h 266700"/>
                <a:gd name="connsiteX19" fmla="*/ 84296 w 266700"/>
                <a:gd name="connsiteY19" fmla="*/ 185261 h 266700"/>
                <a:gd name="connsiteX20" fmla="*/ 84296 w 266700"/>
                <a:gd name="connsiteY20" fmla="*/ 263366 h 266700"/>
                <a:gd name="connsiteX21" fmla="*/ 93821 w 266700"/>
                <a:gd name="connsiteY21" fmla="*/ 263366 h 266700"/>
                <a:gd name="connsiteX22" fmla="*/ 93821 w 266700"/>
                <a:gd name="connsiteY22" fmla="*/ 175736 h 266700"/>
                <a:gd name="connsiteX23" fmla="*/ 7144 w 266700"/>
                <a:gd name="connsiteY23" fmla="*/ 175736 h 266700"/>
                <a:gd name="connsiteX24" fmla="*/ 7144 w 266700"/>
                <a:gd name="connsiteY24" fmla="*/ 185261 h 266700"/>
                <a:gd name="connsiteX25" fmla="*/ 7144 w 266700"/>
                <a:gd name="connsiteY25" fmla="*/ 185261 h 266700"/>
                <a:gd name="connsiteX26" fmla="*/ 7144 w 266700"/>
                <a:gd name="connsiteY26" fmla="*/ 185261 h 266700"/>
                <a:gd name="connsiteX27" fmla="*/ 84296 w 266700"/>
                <a:gd name="connsiteY27" fmla="*/ 7144 h 266700"/>
                <a:gd name="connsiteX28" fmla="*/ 84296 w 266700"/>
                <a:gd name="connsiteY28" fmla="*/ 83344 h 266700"/>
                <a:gd name="connsiteX29" fmla="*/ 7144 w 266700"/>
                <a:gd name="connsiteY29" fmla="*/ 83344 h 266700"/>
                <a:gd name="connsiteX30" fmla="*/ 7144 w 266700"/>
                <a:gd name="connsiteY30" fmla="*/ 93821 h 266700"/>
                <a:gd name="connsiteX31" fmla="*/ 93821 w 266700"/>
                <a:gd name="connsiteY31" fmla="*/ 93821 h 266700"/>
                <a:gd name="connsiteX32" fmla="*/ 93821 w 266700"/>
                <a:gd name="connsiteY32" fmla="*/ 7144 h 266700"/>
                <a:gd name="connsiteX33" fmla="*/ 84296 w 266700"/>
                <a:gd name="connsiteY33" fmla="*/ 7144 h 266700"/>
                <a:gd name="connsiteX34" fmla="*/ 84296 w 266700"/>
                <a:gd name="connsiteY34" fmla="*/ 7144 h 266700"/>
                <a:gd name="connsiteX35" fmla="*/ 84296 w 266700"/>
                <a:gd name="connsiteY35" fmla="*/ 7144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6700" h="266700">
                  <a:moveTo>
                    <a:pt x="174784" y="174784"/>
                  </a:moveTo>
                  <a:lnTo>
                    <a:pt x="261461" y="174784"/>
                  </a:lnTo>
                  <a:lnTo>
                    <a:pt x="261461" y="185261"/>
                  </a:lnTo>
                  <a:lnTo>
                    <a:pt x="185261" y="185261"/>
                  </a:lnTo>
                  <a:lnTo>
                    <a:pt x="185261" y="263366"/>
                  </a:lnTo>
                  <a:lnTo>
                    <a:pt x="174784" y="263366"/>
                  </a:lnTo>
                  <a:lnTo>
                    <a:pt x="174784" y="174784"/>
                  </a:lnTo>
                  <a:lnTo>
                    <a:pt x="174784" y="174784"/>
                  </a:lnTo>
                  <a:lnTo>
                    <a:pt x="174784" y="174784"/>
                  </a:lnTo>
                  <a:close/>
                  <a:moveTo>
                    <a:pt x="184309" y="84296"/>
                  </a:moveTo>
                  <a:lnTo>
                    <a:pt x="184309" y="8096"/>
                  </a:lnTo>
                  <a:lnTo>
                    <a:pt x="173831" y="8096"/>
                  </a:lnTo>
                  <a:lnTo>
                    <a:pt x="173831" y="94774"/>
                  </a:lnTo>
                  <a:lnTo>
                    <a:pt x="260509" y="94774"/>
                  </a:lnTo>
                  <a:lnTo>
                    <a:pt x="260509" y="84296"/>
                  </a:lnTo>
                  <a:lnTo>
                    <a:pt x="184309" y="84296"/>
                  </a:lnTo>
                  <a:lnTo>
                    <a:pt x="184309" y="84296"/>
                  </a:lnTo>
                  <a:lnTo>
                    <a:pt x="184309" y="84296"/>
                  </a:lnTo>
                  <a:close/>
                  <a:moveTo>
                    <a:pt x="7144" y="185261"/>
                  </a:moveTo>
                  <a:lnTo>
                    <a:pt x="84296" y="185261"/>
                  </a:lnTo>
                  <a:lnTo>
                    <a:pt x="84296" y="263366"/>
                  </a:lnTo>
                  <a:lnTo>
                    <a:pt x="93821" y="263366"/>
                  </a:lnTo>
                  <a:lnTo>
                    <a:pt x="93821" y="175736"/>
                  </a:lnTo>
                  <a:lnTo>
                    <a:pt x="7144" y="175736"/>
                  </a:lnTo>
                  <a:lnTo>
                    <a:pt x="7144" y="185261"/>
                  </a:lnTo>
                  <a:lnTo>
                    <a:pt x="7144" y="185261"/>
                  </a:lnTo>
                  <a:lnTo>
                    <a:pt x="7144" y="185261"/>
                  </a:lnTo>
                  <a:close/>
                  <a:moveTo>
                    <a:pt x="84296" y="7144"/>
                  </a:moveTo>
                  <a:lnTo>
                    <a:pt x="84296" y="83344"/>
                  </a:lnTo>
                  <a:lnTo>
                    <a:pt x="7144" y="83344"/>
                  </a:lnTo>
                  <a:lnTo>
                    <a:pt x="7144" y="93821"/>
                  </a:lnTo>
                  <a:lnTo>
                    <a:pt x="93821" y="93821"/>
                  </a:lnTo>
                  <a:lnTo>
                    <a:pt x="93821" y="7144"/>
                  </a:lnTo>
                  <a:lnTo>
                    <a:pt x="84296" y="7144"/>
                  </a:lnTo>
                  <a:lnTo>
                    <a:pt x="84296" y="7144"/>
                  </a:lnTo>
                  <a:lnTo>
                    <a:pt x="84296" y="7144"/>
                  </a:lnTo>
                  <a:close/>
                </a:path>
              </a:pathLst>
            </a:custGeom>
            <a:solidFill>
              <a:srgbClr val="FFFFFF"/>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A010D404-FFE3-4507-8C54-EFF0E4FD47DB}"/>
                </a:ext>
              </a:extLst>
            </p:cNvPr>
            <p:cNvSpPr/>
            <p:nvPr/>
          </p:nvSpPr>
          <p:spPr>
            <a:xfrm>
              <a:off x="932882" y="948139"/>
              <a:ext cx="1029636" cy="1050230"/>
            </a:xfrm>
            <a:custGeom>
              <a:avLst/>
              <a:gdLst>
                <a:gd name="connsiteX0" fmla="*/ 240506 w 476250"/>
                <a:gd name="connsiteY0" fmla="*/ 7144 h 485775"/>
                <a:gd name="connsiteX1" fmla="*/ 7144 w 476250"/>
                <a:gd name="connsiteY1" fmla="*/ 244316 h 485775"/>
                <a:gd name="connsiteX2" fmla="*/ 240506 w 476250"/>
                <a:gd name="connsiteY2" fmla="*/ 481489 h 485775"/>
                <a:gd name="connsiteX3" fmla="*/ 473869 w 476250"/>
                <a:gd name="connsiteY3" fmla="*/ 244316 h 485775"/>
                <a:gd name="connsiteX4" fmla="*/ 240506 w 476250"/>
                <a:gd name="connsiteY4" fmla="*/ 7144 h 485775"/>
                <a:gd name="connsiteX5" fmla="*/ 395764 w 476250"/>
                <a:gd name="connsiteY5" fmla="*/ 402431 h 485775"/>
                <a:gd name="connsiteX6" fmla="*/ 240506 w 476250"/>
                <a:gd name="connsiteY6" fmla="*/ 468154 h 485775"/>
                <a:gd name="connsiteX7" fmla="*/ 85249 w 476250"/>
                <a:gd name="connsiteY7" fmla="*/ 402431 h 485775"/>
                <a:gd name="connsiteX8" fmla="*/ 20479 w 476250"/>
                <a:gd name="connsiteY8" fmla="*/ 244316 h 485775"/>
                <a:gd name="connsiteX9" fmla="*/ 85249 w 476250"/>
                <a:gd name="connsiteY9" fmla="*/ 86201 h 485775"/>
                <a:gd name="connsiteX10" fmla="*/ 240506 w 476250"/>
                <a:gd name="connsiteY10" fmla="*/ 20479 h 485775"/>
                <a:gd name="connsiteX11" fmla="*/ 395764 w 476250"/>
                <a:gd name="connsiteY11" fmla="*/ 86201 h 485775"/>
                <a:gd name="connsiteX12" fmla="*/ 460534 w 476250"/>
                <a:gd name="connsiteY12" fmla="*/ 244316 h 485775"/>
                <a:gd name="connsiteX13" fmla="*/ 395764 w 476250"/>
                <a:gd name="connsiteY13" fmla="*/ 40243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250" h="485775">
                  <a:moveTo>
                    <a:pt x="240506" y="7144"/>
                  </a:moveTo>
                  <a:cubicBezTo>
                    <a:pt x="111919" y="7144"/>
                    <a:pt x="7144" y="113824"/>
                    <a:pt x="7144" y="244316"/>
                  </a:cubicBezTo>
                  <a:cubicBezTo>
                    <a:pt x="7144" y="375761"/>
                    <a:pt x="111919" y="481489"/>
                    <a:pt x="240506" y="481489"/>
                  </a:cubicBezTo>
                  <a:cubicBezTo>
                    <a:pt x="369094" y="481489"/>
                    <a:pt x="473869" y="375761"/>
                    <a:pt x="473869" y="244316"/>
                  </a:cubicBezTo>
                  <a:cubicBezTo>
                    <a:pt x="473869" y="113824"/>
                    <a:pt x="370046" y="7144"/>
                    <a:pt x="240506" y="7144"/>
                  </a:cubicBezTo>
                  <a:close/>
                  <a:moveTo>
                    <a:pt x="395764" y="402431"/>
                  </a:moveTo>
                  <a:cubicBezTo>
                    <a:pt x="354806" y="444341"/>
                    <a:pt x="299561" y="468154"/>
                    <a:pt x="240506" y="468154"/>
                  </a:cubicBezTo>
                  <a:cubicBezTo>
                    <a:pt x="181451" y="468154"/>
                    <a:pt x="126206" y="445294"/>
                    <a:pt x="85249" y="402431"/>
                  </a:cubicBezTo>
                  <a:cubicBezTo>
                    <a:pt x="43339" y="360521"/>
                    <a:pt x="20479" y="304324"/>
                    <a:pt x="20479" y="244316"/>
                  </a:cubicBezTo>
                  <a:cubicBezTo>
                    <a:pt x="20479" y="184309"/>
                    <a:pt x="43339" y="129064"/>
                    <a:pt x="85249" y="86201"/>
                  </a:cubicBezTo>
                  <a:cubicBezTo>
                    <a:pt x="126206" y="44291"/>
                    <a:pt x="181451" y="20479"/>
                    <a:pt x="240506" y="20479"/>
                  </a:cubicBezTo>
                  <a:cubicBezTo>
                    <a:pt x="299561" y="20479"/>
                    <a:pt x="354806" y="43339"/>
                    <a:pt x="395764" y="86201"/>
                  </a:cubicBezTo>
                  <a:cubicBezTo>
                    <a:pt x="437674" y="128111"/>
                    <a:pt x="460534" y="184309"/>
                    <a:pt x="460534" y="244316"/>
                  </a:cubicBezTo>
                  <a:cubicBezTo>
                    <a:pt x="459581" y="304324"/>
                    <a:pt x="436721" y="360521"/>
                    <a:pt x="395764" y="402431"/>
                  </a:cubicBezTo>
                  <a:close/>
                </a:path>
              </a:pathLst>
            </a:custGeom>
            <a:solidFill>
              <a:srgbClr val="FFFFFF"/>
            </a:solidFill>
            <a:ln w="9525"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FF3DDA07-60BA-4C5A-8867-BF036F734EEA}"/>
                </a:ext>
              </a:extLst>
            </p:cNvPr>
            <p:cNvSpPr/>
            <p:nvPr/>
          </p:nvSpPr>
          <p:spPr>
            <a:xfrm>
              <a:off x="1673705" y="1145315"/>
              <a:ext cx="102964" cy="102964"/>
            </a:xfrm>
            <a:custGeom>
              <a:avLst/>
              <a:gdLst>
                <a:gd name="connsiteX0" fmla="*/ 29289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9289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9289" y="9287"/>
                  </a:moveTo>
                  <a:cubicBezTo>
                    <a:pt x="9287" y="29289"/>
                    <a:pt x="9287" y="29289"/>
                    <a:pt x="9287" y="29289"/>
                  </a:cubicBezTo>
                  <a:cubicBezTo>
                    <a:pt x="6429" y="32147"/>
                    <a:pt x="6429" y="36909"/>
                    <a:pt x="9287" y="38814"/>
                  </a:cubicBezTo>
                  <a:cubicBezTo>
                    <a:pt x="10239" y="40719"/>
                    <a:pt x="12144" y="40719"/>
                    <a:pt x="14049" y="40719"/>
                  </a:cubicBezTo>
                  <a:cubicBezTo>
                    <a:pt x="15954" y="40719"/>
                    <a:pt x="17859" y="39767"/>
                    <a:pt x="18812" y="38814"/>
                  </a:cubicBezTo>
                  <a:cubicBezTo>
                    <a:pt x="38814" y="18812"/>
                    <a:pt x="38814" y="18812"/>
                    <a:pt x="38814" y="18812"/>
                  </a:cubicBezTo>
                  <a:cubicBezTo>
                    <a:pt x="41672" y="15954"/>
                    <a:pt x="41672" y="12144"/>
                    <a:pt x="38814" y="9287"/>
                  </a:cubicBezTo>
                  <a:cubicBezTo>
                    <a:pt x="36909" y="6429"/>
                    <a:pt x="32147" y="6429"/>
                    <a:pt x="29289" y="9287"/>
                  </a:cubicBez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DF0149A-7AFB-4DDF-9164-34989C1139CD}"/>
                </a:ext>
              </a:extLst>
            </p:cNvPr>
            <p:cNvSpPr/>
            <p:nvPr/>
          </p:nvSpPr>
          <p:spPr>
            <a:xfrm>
              <a:off x="1127999" y="1703379"/>
              <a:ext cx="102964" cy="102964"/>
            </a:xfrm>
            <a:custGeom>
              <a:avLst/>
              <a:gdLst>
                <a:gd name="connsiteX0" fmla="*/ 28337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8337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8337" y="9287"/>
                  </a:moveTo>
                  <a:cubicBezTo>
                    <a:pt x="9287" y="29289"/>
                    <a:pt x="9287" y="29289"/>
                    <a:pt x="9287" y="29289"/>
                  </a:cubicBezTo>
                  <a:cubicBezTo>
                    <a:pt x="6429" y="32147"/>
                    <a:pt x="6429" y="35957"/>
                    <a:pt x="9287" y="38814"/>
                  </a:cubicBezTo>
                  <a:cubicBezTo>
                    <a:pt x="10239" y="39767"/>
                    <a:pt x="12144" y="40719"/>
                    <a:pt x="14049" y="40719"/>
                  </a:cubicBezTo>
                  <a:cubicBezTo>
                    <a:pt x="15954" y="40719"/>
                    <a:pt x="17859" y="39767"/>
                    <a:pt x="18812" y="38814"/>
                  </a:cubicBezTo>
                  <a:cubicBezTo>
                    <a:pt x="38814" y="18812"/>
                    <a:pt x="38814" y="18812"/>
                    <a:pt x="38814" y="18812"/>
                  </a:cubicBezTo>
                  <a:cubicBezTo>
                    <a:pt x="41672" y="15954"/>
                    <a:pt x="41672" y="11192"/>
                    <a:pt x="38814" y="9287"/>
                  </a:cubicBezTo>
                  <a:cubicBezTo>
                    <a:pt x="35957" y="6429"/>
                    <a:pt x="31194" y="6429"/>
                    <a:pt x="28337" y="9287"/>
                  </a:cubicBezTo>
                  <a:close/>
                </a:path>
              </a:pathLst>
            </a:custGeom>
            <a:solidFill>
              <a:srgbClr val="FFFFFF"/>
            </a:solid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DEF09E71-ABAA-457E-9A17-FA84B0DCE424}"/>
                </a:ext>
              </a:extLst>
            </p:cNvPr>
            <p:cNvSpPr/>
            <p:nvPr/>
          </p:nvSpPr>
          <p:spPr>
            <a:xfrm>
              <a:off x="1675766" y="1703379"/>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1192" y="6429"/>
                    <a:pt x="9287" y="9287"/>
                  </a:cubicBezTo>
                  <a:cubicBezTo>
                    <a:pt x="6429" y="12144"/>
                    <a:pt x="6429" y="15954"/>
                    <a:pt x="9287" y="18812"/>
                  </a:cubicBezTo>
                  <a:cubicBezTo>
                    <a:pt x="29289" y="38814"/>
                    <a:pt x="29289" y="38814"/>
                    <a:pt x="29289" y="38814"/>
                  </a:cubicBezTo>
                  <a:cubicBezTo>
                    <a:pt x="30242" y="39767"/>
                    <a:pt x="32147" y="40719"/>
                    <a:pt x="34052" y="40719"/>
                  </a:cubicBezTo>
                  <a:cubicBezTo>
                    <a:pt x="35957" y="40719"/>
                    <a:pt x="37862" y="39767"/>
                    <a:pt x="38814" y="38814"/>
                  </a:cubicBezTo>
                  <a:cubicBezTo>
                    <a:pt x="41672" y="35957"/>
                    <a:pt x="41672" y="31194"/>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31CB4975-503A-4728-8A59-45A017EDF17C}"/>
                </a:ext>
              </a:extLst>
            </p:cNvPr>
            <p:cNvSpPr/>
            <p:nvPr/>
          </p:nvSpPr>
          <p:spPr>
            <a:xfrm>
              <a:off x="1127999" y="1145315"/>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2144" y="6429"/>
                    <a:pt x="9287" y="9287"/>
                  </a:cubicBezTo>
                  <a:cubicBezTo>
                    <a:pt x="6429" y="12144"/>
                    <a:pt x="6429" y="16907"/>
                    <a:pt x="9287" y="18812"/>
                  </a:cubicBezTo>
                  <a:cubicBezTo>
                    <a:pt x="29289" y="38814"/>
                    <a:pt x="29289" y="38814"/>
                    <a:pt x="29289" y="38814"/>
                  </a:cubicBezTo>
                  <a:cubicBezTo>
                    <a:pt x="31194" y="40719"/>
                    <a:pt x="32147" y="40719"/>
                    <a:pt x="34052" y="40719"/>
                  </a:cubicBezTo>
                  <a:cubicBezTo>
                    <a:pt x="35957" y="40719"/>
                    <a:pt x="37862" y="39767"/>
                    <a:pt x="38814" y="38814"/>
                  </a:cubicBezTo>
                  <a:cubicBezTo>
                    <a:pt x="41672" y="35957"/>
                    <a:pt x="41672" y="32147"/>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grpSp>
      <p:grpSp>
        <p:nvGrpSpPr>
          <p:cNvPr id="4" name="Group 3">
            <a:extLst>
              <a:ext uri="{FF2B5EF4-FFF2-40B4-BE49-F238E27FC236}">
                <a16:creationId xmlns:a16="http://schemas.microsoft.com/office/drawing/2014/main" id="{7032E890-7388-47F6-A162-61617C102531}"/>
              </a:ext>
            </a:extLst>
          </p:cNvPr>
          <p:cNvGrpSpPr/>
          <p:nvPr userDrawn="1"/>
        </p:nvGrpSpPr>
        <p:grpSpPr>
          <a:xfrm>
            <a:off x="2199335" y="1119060"/>
            <a:ext cx="3931149" cy="733101"/>
            <a:chOff x="2199335" y="1119060"/>
            <a:chExt cx="3931149" cy="733101"/>
          </a:xfrm>
        </p:grpSpPr>
        <p:sp>
          <p:nvSpPr>
            <p:cNvPr id="18" name="Freeform: Shape 17">
              <a:extLst>
                <a:ext uri="{FF2B5EF4-FFF2-40B4-BE49-F238E27FC236}">
                  <a16:creationId xmlns:a16="http://schemas.microsoft.com/office/drawing/2014/main" id="{54E9F538-AD5D-41C6-AD63-60ED182C41BA}"/>
                </a:ext>
              </a:extLst>
            </p:cNvPr>
            <p:cNvSpPr/>
            <p:nvPr/>
          </p:nvSpPr>
          <p:spPr>
            <a:xfrm>
              <a:off x="2199335" y="1119060"/>
              <a:ext cx="556003" cy="720746"/>
            </a:xfrm>
            <a:custGeom>
              <a:avLst/>
              <a:gdLst>
                <a:gd name="connsiteX0" fmla="*/ 256699 w 257175"/>
                <a:gd name="connsiteY0" fmla="*/ 232886 h 333375"/>
                <a:gd name="connsiteX1" fmla="*/ 242411 w 257175"/>
                <a:gd name="connsiteY1" fmla="*/ 284321 h 333375"/>
                <a:gd name="connsiteX2" fmla="*/ 199549 w 257175"/>
                <a:gd name="connsiteY2" fmla="*/ 319564 h 333375"/>
                <a:gd name="connsiteX3" fmla="*/ 132874 w 257175"/>
                <a:gd name="connsiteY3" fmla="*/ 331946 h 333375"/>
                <a:gd name="connsiteX4" fmla="*/ 55721 w 257175"/>
                <a:gd name="connsiteY4" fmla="*/ 314801 h 333375"/>
                <a:gd name="connsiteX5" fmla="*/ 20479 w 257175"/>
                <a:gd name="connsiteY5" fmla="*/ 281464 h 333375"/>
                <a:gd name="connsiteX6" fmla="*/ 7144 w 257175"/>
                <a:gd name="connsiteY6" fmla="*/ 240506 h 333375"/>
                <a:gd name="connsiteX7" fmla="*/ 14764 w 257175"/>
                <a:gd name="connsiteY7" fmla="*/ 220504 h 333375"/>
                <a:gd name="connsiteX8" fmla="*/ 34766 w 257175"/>
                <a:gd name="connsiteY8" fmla="*/ 211931 h 333375"/>
                <a:gd name="connsiteX9" fmla="*/ 51911 w 257175"/>
                <a:gd name="connsiteY9" fmla="*/ 218599 h 333375"/>
                <a:gd name="connsiteX10" fmla="*/ 63341 w 257175"/>
                <a:gd name="connsiteY10" fmla="*/ 237649 h 333375"/>
                <a:gd name="connsiteX11" fmla="*/ 76676 w 257175"/>
                <a:gd name="connsiteY11" fmla="*/ 262414 h 333375"/>
                <a:gd name="connsiteX12" fmla="*/ 96679 w 257175"/>
                <a:gd name="connsiteY12" fmla="*/ 278606 h 333375"/>
                <a:gd name="connsiteX13" fmla="*/ 130016 w 257175"/>
                <a:gd name="connsiteY13" fmla="*/ 285274 h 333375"/>
                <a:gd name="connsiteX14" fmla="*/ 175736 w 257175"/>
                <a:gd name="connsiteY14" fmla="*/ 271939 h 333375"/>
                <a:gd name="connsiteX15" fmla="*/ 193834 w 257175"/>
                <a:gd name="connsiteY15" fmla="*/ 238601 h 333375"/>
                <a:gd name="connsiteX16" fmla="*/ 184309 w 257175"/>
                <a:gd name="connsiteY16" fmla="*/ 212884 h 333375"/>
                <a:gd name="connsiteX17" fmla="*/ 159544 w 257175"/>
                <a:gd name="connsiteY17" fmla="*/ 197644 h 333375"/>
                <a:gd name="connsiteX18" fmla="*/ 119539 w 257175"/>
                <a:gd name="connsiteY18" fmla="*/ 187166 h 333375"/>
                <a:gd name="connsiteX19" fmla="*/ 63341 w 257175"/>
                <a:gd name="connsiteY19" fmla="*/ 169069 h 333375"/>
                <a:gd name="connsiteX20" fmla="*/ 27146 w 257175"/>
                <a:gd name="connsiteY20" fmla="*/ 140494 h 333375"/>
                <a:gd name="connsiteX21" fmla="*/ 13811 w 257175"/>
                <a:gd name="connsiteY21" fmla="*/ 94774 h 333375"/>
                <a:gd name="connsiteX22" fmla="*/ 28099 w 257175"/>
                <a:gd name="connsiteY22" fmla="*/ 49054 h 333375"/>
                <a:gd name="connsiteX23" fmla="*/ 69056 w 257175"/>
                <a:gd name="connsiteY23" fmla="*/ 17621 h 333375"/>
                <a:gd name="connsiteX24" fmla="*/ 131921 w 257175"/>
                <a:gd name="connsiteY24" fmla="*/ 7144 h 333375"/>
                <a:gd name="connsiteX25" fmla="*/ 182404 w 257175"/>
                <a:gd name="connsiteY25" fmla="*/ 14764 h 333375"/>
                <a:gd name="connsiteX26" fmla="*/ 217646 w 257175"/>
                <a:gd name="connsiteY26" fmla="*/ 33814 h 333375"/>
                <a:gd name="connsiteX27" fmla="*/ 237649 w 257175"/>
                <a:gd name="connsiteY27" fmla="*/ 58579 h 333375"/>
                <a:gd name="connsiteX28" fmla="*/ 244316 w 257175"/>
                <a:gd name="connsiteY28" fmla="*/ 84296 h 333375"/>
                <a:gd name="connsiteX29" fmla="*/ 236696 w 257175"/>
                <a:gd name="connsiteY29" fmla="*/ 104299 h 333375"/>
                <a:gd name="connsiteX30" fmla="*/ 216694 w 257175"/>
                <a:gd name="connsiteY30" fmla="*/ 113824 h 333375"/>
                <a:gd name="connsiteX31" fmla="*/ 200501 w 257175"/>
                <a:gd name="connsiteY31" fmla="*/ 108109 h 333375"/>
                <a:gd name="connsiteX32" fmla="*/ 188119 w 257175"/>
                <a:gd name="connsiteY32" fmla="*/ 90011 h 333375"/>
                <a:gd name="connsiteX33" fmla="*/ 167164 w 257175"/>
                <a:gd name="connsiteY33" fmla="*/ 62389 h 333375"/>
                <a:gd name="connsiteX34" fmla="*/ 129064 w 257175"/>
                <a:gd name="connsiteY34" fmla="*/ 52864 h 333375"/>
                <a:gd name="connsiteX35" fmla="*/ 89059 w 257175"/>
                <a:gd name="connsiteY35" fmla="*/ 63341 h 333375"/>
                <a:gd name="connsiteX36" fmla="*/ 73819 w 257175"/>
                <a:gd name="connsiteY36" fmla="*/ 89059 h 333375"/>
                <a:gd name="connsiteX37" fmla="*/ 78581 w 257175"/>
                <a:gd name="connsiteY37" fmla="*/ 105251 h 333375"/>
                <a:gd name="connsiteX38" fmla="*/ 92869 w 257175"/>
                <a:gd name="connsiteY38" fmla="*/ 116681 h 333375"/>
                <a:gd name="connsiteX39" fmla="*/ 110966 w 257175"/>
                <a:gd name="connsiteY39" fmla="*/ 124301 h 333375"/>
                <a:gd name="connsiteX40" fmla="*/ 141446 w 257175"/>
                <a:gd name="connsiteY40" fmla="*/ 132874 h 333375"/>
                <a:gd name="connsiteX41" fmla="*/ 189071 w 257175"/>
                <a:gd name="connsiteY41" fmla="*/ 146209 h 333375"/>
                <a:gd name="connsiteX42" fmla="*/ 225266 w 257175"/>
                <a:gd name="connsiteY42" fmla="*/ 164306 h 333375"/>
                <a:gd name="connsiteX43" fmla="*/ 249079 w 257175"/>
                <a:gd name="connsiteY43" fmla="*/ 190976 h 333375"/>
                <a:gd name="connsiteX44" fmla="*/ 256699 w 257175"/>
                <a:gd name="connsiteY44" fmla="*/ 23288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57175" h="333375">
                  <a:moveTo>
                    <a:pt x="256699" y="232886"/>
                  </a:moveTo>
                  <a:cubicBezTo>
                    <a:pt x="256699" y="251936"/>
                    <a:pt x="251936" y="269081"/>
                    <a:pt x="242411" y="284321"/>
                  </a:cubicBezTo>
                  <a:cubicBezTo>
                    <a:pt x="232886" y="299561"/>
                    <a:pt x="218599" y="310991"/>
                    <a:pt x="199549" y="319564"/>
                  </a:cubicBezTo>
                  <a:cubicBezTo>
                    <a:pt x="180499" y="328136"/>
                    <a:pt x="158591" y="331946"/>
                    <a:pt x="132874" y="331946"/>
                  </a:cubicBezTo>
                  <a:cubicBezTo>
                    <a:pt x="101441" y="331946"/>
                    <a:pt x="76676" y="326231"/>
                    <a:pt x="55721" y="314801"/>
                  </a:cubicBezTo>
                  <a:cubicBezTo>
                    <a:pt x="41434" y="306229"/>
                    <a:pt x="30004" y="294799"/>
                    <a:pt x="20479" y="281464"/>
                  </a:cubicBezTo>
                  <a:cubicBezTo>
                    <a:pt x="11906" y="267176"/>
                    <a:pt x="7144" y="253841"/>
                    <a:pt x="7144" y="240506"/>
                  </a:cubicBezTo>
                  <a:cubicBezTo>
                    <a:pt x="7144" y="232886"/>
                    <a:pt x="10001" y="226219"/>
                    <a:pt x="14764" y="220504"/>
                  </a:cubicBezTo>
                  <a:cubicBezTo>
                    <a:pt x="20479" y="214789"/>
                    <a:pt x="27146" y="211931"/>
                    <a:pt x="34766" y="211931"/>
                  </a:cubicBezTo>
                  <a:cubicBezTo>
                    <a:pt x="41434" y="211931"/>
                    <a:pt x="47149" y="213836"/>
                    <a:pt x="51911" y="218599"/>
                  </a:cubicBezTo>
                  <a:cubicBezTo>
                    <a:pt x="56674" y="222409"/>
                    <a:pt x="60484" y="229076"/>
                    <a:pt x="63341" y="237649"/>
                  </a:cubicBezTo>
                  <a:cubicBezTo>
                    <a:pt x="67151" y="247174"/>
                    <a:pt x="71914" y="255746"/>
                    <a:pt x="76676" y="262414"/>
                  </a:cubicBezTo>
                  <a:cubicBezTo>
                    <a:pt x="81439" y="269081"/>
                    <a:pt x="88106" y="274796"/>
                    <a:pt x="96679" y="278606"/>
                  </a:cubicBezTo>
                  <a:cubicBezTo>
                    <a:pt x="105251" y="283369"/>
                    <a:pt x="115729" y="285274"/>
                    <a:pt x="130016" y="285274"/>
                  </a:cubicBezTo>
                  <a:cubicBezTo>
                    <a:pt x="149066" y="285274"/>
                    <a:pt x="164306" y="280511"/>
                    <a:pt x="175736" y="271939"/>
                  </a:cubicBezTo>
                  <a:cubicBezTo>
                    <a:pt x="187166" y="263366"/>
                    <a:pt x="193834" y="251936"/>
                    <a:pt x="193834" y="238601"/>
                  </a:cubicBezTo>
                  <a:cubicBezTo>
                    <a:pt x="193834" y="228124"/>
                    <a:pt x="190976" y="219551"/>
                    <a:pt x="184309" y="212884"/>
                  </a:cubicBezTo>
                  <a:cubicBezTo>
                    <a:pt x="177641" y="206216"/>
                    <a:pt x="170021" y="201454"/>
                    <a:pt x="159544" y="197644"/>
                  </a:cubicBezTo>
                  <a:cubicBezTo>
                    <a:pt x="149066" y="193834"/>
                    <a:pt x="135731" y="190976"/>
                    <a:pt x="119539" y="187166"/>
                  </a:cubicBezTo>
                  <a:cubicBezTo>
                    <a:pt x="96679" y="181451"/>
                    <a:pt x="77629" y="175736"/>
                    <a:pt x="63341" y="169069"/>
                  </a:cubicBezTo>
                  <a:cubicBezTo>
                    <a:pt x="49054" y="162401"/>
                    <a:pt x="35719" y="151924"/>
                    <a:pt x="27146" y="140494"/>
                  </a:cubicBezTo>
                  <a:cubicBezTo>
                    <a:pt x="18574" y="128111"/>
                    <a:pt x="13811" y="112871"/>
                    <a:pt x="13811" y="94774"/>
                  </a:cubicBezTo>
                  <a:cubicBezTo>
                    <a:pt x="13811" y="77629"/>
                    <a:pt x="18574" y="62389"/>
                    <a:pt x="28099" y="49054"/>
                  </a:cubicBezTo>
                  <a:cubicBezTo>
                    <a:pt x="37624" y="35719"/>
                    <a:pt x="50959" y="25241"/>
                    <a:pt x="69056" y="17621"/>
                  </a:cubicBezTo>
                  <a:cubicBezTo>
                    <a:pt x="87154" y="10001"/>
                    <a:pt x="108109" y="7144"/>
                    <a:pt x="131921" y="7144"/>
                  </a:cubicBezTo>
                  <a:cubicBezTo>
                    <a:pt x="150971" y="7144"/>
                    <a:pt x="168116" y="10001"/>
                    <a:pt x="182404" y="14764"/>
                  </a:cubicBezTo>
                  <a:cubicBezTo>
                    <a:pt x="196691" y="19526"/>
                    <a:pt x="208121" y="26194"/>
                    <a:pt x="217646" y="33814"/>
                  </a:cubicBezTo>
                  <a:cubicBezTo>
                    <a:pt x="227171" y="41434"/>
                    <a:pt x="233839" y="50006"/>
                    <a:pt x="237649" y="58579"/>
                  </a:cubicBezTo>
                  <a:cubicBezTo>
                    <a:pt x="241459" y="67151"/>
                    <a:pt x="244316" y="75724"/>
                    <a:pt x="244316" y="84296"/>
                  </a:cubicBezTo>
                  <a:cubicBezTo>
                    <a:pt x="244316" y="91916"/>
                    <a:pt x="241459" y="98584"/>
                    <a:pt x="236696" y="104299"/>
                  </a:cubicBezTo>
                  <a:cubicBezTo>
                    <a:pt x="230981" y="110014"/>
                    <a:pt x="224314" y="113824"/>
                    <a:pt x="216694" y="113824"/>
                  </a:cubicBezTo>
                  <a:cubicBezTo>
                    <a:pt x="209074" y="113824"/>
                    <a:pt x="204311" y="111919"/>
                    <a:pt x="200501" y="108109"/>
                  </a:cubicBezTo>
                  <a:cubicBezTo>
                    <a:pt x="196691" y="104299"/>
                    <a:pt x="192881" y="98584"/>
                    <a:pt x="188119" y="90011"/>
                  </a:cubicBezTo>
                  <a:cubicBezTo>
                    <a:pt x="182404" y="78581"/>
                    <a:pt x="175736" y="69056"/>
                    <a:pt x="167164" y="62389"/>
                  </a:cubicBezTo>
                  <a:cubicBezTo>
                    <a:pt x="159544" y="55721"/>
                    <a:pt x="146209" y="52864"/>
                    <a:pt x="129064" y="52864"/>
                  </a:cubicBezTo>
                  <a:cubicBezTo>
                    <a:pt x="112871" y="52864"/>
                    <a:pt x="99536" y="56674"/>
                    <a:pt x="89059" y="63341"/>
                  </a:cubicBezTo>
                  <a:cubicBezTo>
                    <a:pt x="78581" y="70961"/>
                    <a:pt x="73819" y="79534"/>
                    <a:pt x="73819" y="89059"/>
                  </a:cubicBezTo>
                  <a:cubicBezTo>
                    <a:pt x="73819" y="95726"/>
                    <a:pt x="75724" y="100489"/>
                    <a:pt x="78581" y="105251"/>
                  </a:cubicBezTo>
                  <a:cubicBezTo>
                    <a:pt x="82391" y="110014"/>
                    <a:pt x="87154" y="113824"/>
                    <a:pt x="92869" y="116681"/>
                  </a:cubicBezTo>
                  <a:cubicBezTo>
                    <a:pt x="98584" y="119539"/>
                    <a:pt x="105251" y="122396"/>
                    <a:pt x="110966" y="124301"/>
                  </a:cubicBezTo>
                  <a:cubicBezTo>
                    <a:pt x="116681" y="126206"/>
                    <a:pt x="127159" y="129064"/>
                    <a:pt x="141446" y="132874"/>
                  </a:cubicBezTo>
                  <a:cubicBezTo>
                    <a:pt x="159544" y="136684"/>
                    <a:pt x="174784" y="141446"/>
                    <a:pt x="189071" y="146209"/>
                  </a:cubicBezTo>
                  <a:cubicBezTo>
                    <a:pt x="203359" y="150971"/>
                    <a:pt x="215741" y="157639"/>
                    <a:pt x="225266" y="164306"/>
                  </a:cubicBezTo>
                  <a:cubicBezTo>
                    <a:pt x="235744" y="171926"/>
                    <a:pt x="243364" y="180499"/>
                    <a:pt x="249079" y="190976"/>
                  </a:cubicBezTo>
                  <a:cubicBezTo>
                    <a:pt x="253841" y="203359"/>
                    <a:pt x="256699" y="216694"/>
                    <a:pt x="256699" y="232886"/>
                  </a:cubicBezTo>
                  <a:close/>
                </a:path>
              </a:pathLst>
            </a:custGeom>
            <a:solidFill>
              <a:srgbClr val="FFFFFF"/>
            </a:solidFill>
            <a:ln w="9525"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3CA67C2E-9C32-4BE6-879F-32A35481A1F4}"/>
                </a:ext>
              </a:extLst>
            </p:cNvPr>
            <p:cNvSpPr/>
            <p:nvPr/>
          </p:nvSpPr>
          <p:spPr>
            <a:xfrm>
              <a:off x="2850065" y="1131415"/>
              <a:ext cx="679560" cy="720746"/>
            </a:xfrm>
            <a:custGeom>
              <a:avLst/>
              <a:gdLst>
                <a:gd name="connsiteX0" fmla="*/ 115729 w 314325"/>
                <a:gd name="connsiteY0" fmla="*/ 273844 h 333375"/>
                <a:gd name="connsiteX1" fmla="*/ 65246 w 314325"/>
                <a:gd name="connsiteY1" fmla="*/ 73819 h 333375"/>
                <a:gd name="connsiteX2" fmla="*/ 65246 w 314325"/>
                <a:gd name="connsiteY2" fmla="*/ 290989 h 333375"/>
                <a:gd name="connsiteX3" fmla="*/ 57626 w 314325"/>
                <a:gd name="connsiteY3" fmla="*/ 317659 h 333375"/>
                <a:gd name="connsiteX4" fmla="*/ 36671 w 314325"/>
                <a:gd name="connsiteY4" fmla="*/ 326231 h 333375"/>
                <a:gd name="connsiteX5" fmla="*/ 15716 w 314325"/>
                <a:gd name="connsiteY5" fmla="*/ 317659 h 333375"/>
                <a:gd name="connsiteX6" fmla="*/ 7144 w 314325"/>
                <a:gd name="connsiteY6" fmla="*/ 290989 h 333375"/>
                <a:gd name="connsiteX7" fmla="*/ 7144 w 314325"/>
                <a:gd name="connsiteY7" fmla="*/ 42386 h 333375"/>
                <a:gd name="connsiteX8" fmla="*/ 17621 w 314325"/>
                <a:gd name="connsiteY8" fmla="*/ 14764 h 333375"/>
                <a:gd name="connsiteX9" fmla="*/ 46196 w 314325"/>
                <a:gd name="connsiteY9" fmla="*/ 7144 h 333375"/>
                <a:gd name="connsiteX10" fmla="*/ 66199 w 314325"/>
                <a:gd name="connsiteY10" fmla="*/ 7144 h 333375"/>
                <a:gd name="connsiteX11" fmla="*/ 91916 w 314325"/>
                <a:gd name="connsiteY11" fmla="*/ 10001 h 333375"/>
                <a:gd name="connsiteX12" fmla="*/ 103346 w 314325"/>
                <a:gd name="connsiteY12" fmla="*/ 21431 h 333375"/>
                <a:gd name="connsiteX13" fmla="*/ 111919 w 314325"/>
                <a:gd name="connsiteY13" fmla="*/ 49054 h 333375"/>
                <a:gd name="connsiteX14" fmla="*/ 157639 w 314325"/>
                <a:gd name="connsiteY14" fmla="*/ 221456 h 333375"/>
                <a:gd name="connsiteX15" fmla="*/ 203359 w 314325"/>
                <a:gd name="connsiteY15" fmla="*/ 49054 h 333375"/>
                <a:gd name="connsiteX16" fmla="*/ 211931 w 314325"/>
                <a:gd name="connsiteY16" fmla="*/ 21431 h 333375"/>
                <a:gd name="connsiteX17" fmla="*/ 223361 w 314325"/>
                <a:gd name="connsiteY17" fmla="*/ 10001 h 333375"/>
                <a:gd name="connsiteX18" fmla="*/ 249079 w 314325"/>
                <a:gd name="connsiteY18" fmla="*/ 7144 h 333375"/>
                <a:gd name="connsiteX19" fmla="*/ 269081 w 314325"/>
                <a:gd name="connsiteY19" fmla="*/ 7144 h 333375"/>
                <a:gd name="connsiteX20" fmla="*/ 297656 w 314325"/>
                <a:gd name="connsiteY20" fmla="*/ 14764 h 333375"/>
                <a:gd name="connsiteX21" fmla="*/ 308134 w 314325"/>
                <a:gd name="connsiteY21" fmla="*/ 42386 h 333375"/>
                <a:gd name="connsiteX22" fmla="*/ 308134 w 314325"/>
                <a:gd name="connsiteY22" fmla="*/ 290989 h 333375"/>
                <a:gd name="connsiteX23" fmla="*/ 300514 w 314325"/>
                <a:gd name="connsiteY23" fmla="*/ 317659 h 333375"/>
                <a:gd name="connsiteX24" fmla="*/ 278606 w 314325"/>
                <a:gd name="connsiteY24" fmla="*/ 326231 h 333375"/>
                <a:gd name="connsiteX25" fmla="*/ 257651 w 314325"/>
                <a:gd name="connsiteY25" fmla="*/ 317659 h 333375"/>
                <a:gd name="connsiteX26" fmla="*/ 249079 w 314325"/>
                <a:gd name="connsiteY26" fmla="*/ 290989 h 333375"/>
                <a:gd name="connsiteX27" fmla="*/ 249079 w 314325"/>
                <a:gd name="connsiteY27" fmla="*/ 73819 h 333375"/>
                <a:gd name="connsiteX28" fmla="*/ 198596 w 314325"/>
                <a:gd name="connsiteY28" fmla="*/ 273844 h 333375"/>
                <a:gd name="connsiteX29" fmla="*/ 190976 w 314325"/>
                <a:gd name="connsiteY29" fmla="*/ 302419 h 333375"/>
                <a:gd name="connsiteX30" fmla="*/ 179546 w 314325"/>
                <a:gd name="connsiteY30" fmla="*/ 318611 h 333375"/>
                <a:gd name="connsiteX31" fmla="*/ 156686 w 314325"/>
                <a:gd name="connsiteY31" fmla="*/ 326231 h 333375"/>
                <a:gd name="connsiteX32" fmla="*/ 137636 w 314325"/>
                <a:gd name="connsiteY32" fmla="*/ 321469 h 333375"/>
                <a:gd name="connsiteX33" fmla="*/ 125254 w 314325"/>
                <a:gd name="connsiteY33" fmla="*/ 309086 h 333375"/>
                <a:gd name="connsiteX34" fmla="*/ 118586 w 314325"/>
                <a:gd name="connsiteY34" fmla="*/ 292894 h 333375"/>
                <a:gd name="connsiteX35" fmla="*/ 115729 w 314325"/>
                <a:gd name="connsiteY35" fmla="*/ 273844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14325" h="333375">
                  <a:moveTo>
                    <a:pt x="115729" y="273844"/>
                  </a:moveTo>
                  <a:lnTo>
                    <a:pt x="65246" y="73819"/>
                  </a:lnTo>
                  <a:lnTo>
                    <a:pt x="65246" y="290989"/>
                  </a:lnTo>
                  <a:cubicBezTo>
                    <a:pt x="65246" y="303371"/>
                    <a:pt x="62389" y="311944"/>
                    <a:pt x="57626" y="317659"/>
                  </a:cubicBezTo>
                  <a:cubicBezTo>
                    <a:pt x="51911" y="323374"/>
                    <a:pt x="45244" y="326231"/>
                    <a:pt x="36671" y="326231"/>
                  </a:cubicBezTo>
                  <a:cubicBezTo>
                    <a:pt x="28099" y="326231"/>
                    <a:pt x="21431" y="323374"/>
                    <a:pt x="15716" y="317659"/>
                  </a:cubicBezTo>
                  <a:cubicBezTo>
                    <a:pt x="10001" y="311944"/>
                    <a:pt x="7144" y="302419"/>
                    <a:pt x="7144" y="290989"/>
                  </a:cubicBezTo>
                  <a:lnTo>
                    <a:pt x="7144" y="42386"/>
                  </a:lnTo>
                  <a:cubicBezTo>
                    <a:pt x="7144" y="29051"/>
                    <a:pt x="10954" y="19526"/>
                    <a:pt x="17621" y="14764"/>
                  </a:cubicBezTo>
                  <a:cubicBezTo>
                    <a:pt x="25241" y="10001"/>
                    <a:pt x="34766" y="7144"/>
                    <a:pt x="46196" y="7144"/>
                  </a:cubicBezTo>
                  <a:lnTo>
                    <a:pt x="66199" y="7144"/>
                  </a:lnTo>
                  <a:cubicBezTo>
                    <a:pt x="77629" y="7144"/>
                    <a:pt x="86201" y="8096"/>
                    <a:pt x="91916" y="10001"/>
                  </a:cubicBezTo>
                  <a:cubicBezTo>
                    <a:pt x="97631" y="11906"/>
                    <a:pt x="101441" y="15716"/>
                    <a:pt x="103346" y="21431"/>
                  </a:cubicBezTo>
                  <a:cubicBezTo>
                    <a:pt x="106204" y="27146"/>
                    <a:pt x="109061" y="35719"/>
                    <a:pt x="111919" y="49054"/>
                  </a:cubicBezTo>
                  <a:lnTo>
                    <a:pt x="157639" y="221456"/>
                  </a:lnTo>
                  <a:lnTo>
                    <a:pt x="203359" y="49054"/>
                  </a:lnTo>
                  <a:cubicBezTo>
                    <a:pt x="206216" y="36671"/>
                    <a:pt x="210026" y="27146"/>
                    <a:pt x="211931" y="21431"/>
                  </a:cubicBezTo>
                  <a:cubicBezTo>
                    <a:pt x="213836" y="15716"/>
                    <a:pt x="218599" y="11906"/>
                    <a:pt x="223361" y="10001"/>
                  </a:cubicBezTo>
                  <a:cubicBezTo>
                    <a:pt x="229076" y="8096"/>
                    <a:pt x="237649" y="7144"/>
                    <a:pt x="249079" y="7144"/>
                  </a:cubicBezTo>
                  <a:lnTo>
                    <a:pt x="269081" y="7144"/>
                  </a:lnTo>
                  <a:cubicBezTo>
                    <a:pt x="281464" y="7144"/>
                    <a:pt x="290989" y="10001"/>
                    <a:pt x="297656" y="14764"/>
                  </a:cubicBezTo>
                  <a:cubicBezTo>
                    <a:pt x="305276" y="19526"/>
                    <a:pt x="308134" y="29051"/>
                    <a:pt x="308134" y="42386"/>
                  </a:cubicBezTo>
                  <a:lnTo>
                    <a:pt x="308134" y="290989"/>
                  </a:lnTo>
                  <a:cubicBezTo>
                    <a:pt x="308134" y="303371"/>
                    <a:pt x="305276" y="311944"/>
                    <a:pt x="300514" y="317659"/>
                  </a:cubicBezTo>
                  <a:cubicBezTo>
                    <a:pt x="294799" y="323374"/>
                    <a:pt x="288131" y="326231"/>
                    <a:pt x="278606" y="326231"/>
                  </a:cubicBezTo>
                  <a:cubicBezTo>
                    <a:pt x="270034" y="326231"/>
                    <a:pt x="263366" y="323374"/>
                    <a:pt x="257651" y="317659"/>
                  </a:cubicBezTo>
                  <a:cubicBezTo>
                    <a:pt x="251936" y="311944"/>
                    <a:pt x="249079" y="302419"/>
                    <a:pt x="249079" y="290989"/>
                  </a:cubicBezTo>
                  <a:lnTo>
                    <a:pt x="249079" y="73819"/>
                  </a:lnTo>
                  <a:lnTo>
                    <a:pt x="198596" y="273844"/>
                  </a:lnTo>
                  <a:cubicBezTo>
                    <a:pt x="195739" y="287179"/>
                    <a:pt x="192881" y="296704"/>
                    <a:pt x="190976" y="302419"/>
                  </a:cubicBezTo>
                  <a:cubicBezTo>
                    <a:pt x="189071" y="308134"/>
                    <a:pt x="185261" y="313849"/>
                    <a:pt x="179546" y="318611"/>
                  </a:cubicBezTo>
                  <a:cubicBezTo>
                    <a:pt x="173831" y="323374"/>
                    <a:pt x="166211" y="326231"/>
                    <a:pt x="156686" y="326231"/>
                  </a:cubicBezTo>
                  <a:cubicBezTo>
                    <a:pt x="149066" y="326231"/>
                    <a:pt x="143351" y="324326"/>
                    <a:pt x="137636" y="321469"/>
                  </a:cubicBezTo>
                  <a:cubicBezTo>
                    <a:pt x="132874" y="318611"/>
                    <a:pt x="128111" y="313849"/>
                    <a:pt x="125254" y="309086"/>
                  </a:cubicBezTo>
                  <a:cubicBezTo>
                    <a:pt x="122396" y="304324"/>
                    <a:pt x="120491" y="298609"/>
                    <a:pt x="118586" y="292894"/>
                  </a:cubicBezTo>
                  <a:cubicBezTo>
                    <a:pt x="119539" y="287179"/>
                    <a:pt x="117634" y="280511"/>
                    <a:pt x="115729" y="273844"/>
                  </a:cubicBezTo>
                  <a:close/>
                </a:path>
              </a:pathLst>
            </a:custGeom>
            <a:solidFill>
              <a:srgbClr val="FFFFFF"/>
            </a:solidFill>
            <a:ln w="9525"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B9D5494D-79E5-4879-9507-D86EB963BA4F}"/>
                </a:ext>
              </a:extLst>
            </p:cNvPr>
            <p:cNvSpPr/>
            <p:nvPr/>
          </p:nvSpPr>
          <p:spPr>
            <a:xfrm>
              <a:off x="3597580" y="1121118"/>
              <a:ext cx="658967" cy="720746"/>
            </a:xfrm>
            <a:custGeom>
              <a:avLst/>
              <a:gdLst>
                <a:gd name="connsiteX0" fmla="*/ 230981 w 304800"/>
                <a:gd name="connsiteY0" fmla="*/ 290036 h 333375"/>
                <a:gd name="connsiteX1" fmla="*/ 215741 w 304800"/>
                <a:gd name="connsiteY1" fmla="*/ 250984 h 333375"/>
                <a:gd name="connsiteX2" fmla="*/ 88106 w 304800"/>
                <a:gd name="connsiteY2" fmla="*/ 250984 h 333375"/>
                <a:gd name="connsiteX3" fmla="*/ 72866 w 304800"/>
                <a:gd name="connsiteY3" fmla="*/ 290989 h 333375"/>
                <a:gd name="connsiteX4" fmla="*/ 57626 w 304800"/>
                <a:gd name="connsiteY4" fmla="*/ 322421 h 333375"/>
                <a:gd name="connsiteX5" fmla="*/ 37624 w 304800"/>
                <a:gd name="connsiteY5" fmla="*/ 330994 h 333375"/>
                <a:gd name="connsiteX6" fmla="*/ 16669 w 304800"/>
                <a:gd name="connsiteY6" fmla="*/ 322421 h 333375"/>
                <a:gd name="connsiteX7" fmla="*/ 7144 w 304800"/>
                <a:gd name="connsiteY7" fmla="*/ 302419 h 333375"/>
                <a:gd name="connsiteX8" fmla="*/ 9049 w 304800"/>
                <a:gd name="connsiteY8" fmla="*/ 289084 h 333375"/>
                <a:gd name="connsiteX9" fmla="*/ 15716 w 304800"/>
                <a:gd name="connsiteY9" fmla="*/ 270034 h 333375"/>
                <a:gd name="connsiteX10" fmla="*/ 95726 w 304800"/>
                <a:gd name="connsiteY10" fmla="*/ 66199 h 333375"/>
                <a:gd name="connsiteX11" fmla="*/ 104299 w 304800"/>
                <a:gd name="connsiteY11" fmla="*/ 45244 h 333375"/>
                <a:gd name="connsiteX12" fmla="*/ 114776 w 304800"/>
                <a:gd name="connsiteY12" fmla="*/ 25241 h 333375"/>
                <a:gd name="connsiteX13" fmla="*/ 129064 w 304800"/>
                <a:gd name="connsiteY13" fmla="*/ 11906 h 333375"/>
                <a:gd name="connsiteX14" fmla="*/ 150971 w 304800"/>
                <a:gd name="connsiteY14" fmla="*/ 7144 h 333375"/>
                <a:gd name="connsiteX15" fmla="*/ 172879 w 304800"/>
                <a:gd name="connsiteY15" fmla="*/ 11906 h 333375"/>
                <a:gd name="connsiteX16" fmla="*/ 187166 w 304800"/>
                <a:gd name="connsiteY16" fmla="*/ 25241 h 333375"/>
                <a:gd name="connsiteX17" fmla="*/ 196691 w 304800"/>
                <a:gd name="connsiteY17" fmla="*/ 42386 h 333375"/>
                <a:gd name="connsiteX18" fmla="*/ 206216 w 304800"/>
                <a:gd name="connsiteY18" fmla="*/ 67151 h 333375"/>
                <a:gd name="connsiteX19" fmla="*/ 288131 w 304800"/>
                <a:gd name="connsiteY19" fmla="*/ 270034 h 333375"/>
                <a:gd name="connsiteX20" fmla="*/ 297656 w 304800"/>
                <a:gd name="connsiteY20" fmla="*/ 303371 h 333375"/>
                <a:gd name="connsiteX21" fmla="*/ 288131 w 304800"/>
                <a:gd name="connsiteY21" fmla="*/ 323374 h 333375"/>
                <a:gd name="connsiteX22" fmla="*/ 266224 w 304800"/>
                <a:gd name="connsiteY22" fmla="*/ 332899 h 333375"/>
                <a:gd name="connsiteX23" fmla="*/ 253841 w 304800"/>
                <a:gd name="connsiteY23" fmla="*/ 330041 h 333375"/>
                <a:gd name="connsiteX24" fmla="*/ 245269 w 304800"/>
                <a:gd name="connsiteY24" fmla="*/ 322421 h 333375"/>
                <a:gd name="connsiteX25" fmla="*/ 237649 w 304800"/>
                <a:gd name="connsiteY25" fmla="*/ 308134 h 333375"/>
                <a:gd name="connsiteX26" fmla="*/ 230981 w 304800"/>
                <a:gd name="connsiteY26" fmla="*/ 290036 h 333375"/>
                <a:gd name="connsiteX27" fmla="*/ 104299 w 304800"/>
                <a:gd name="connsiteY27" fmla="*/ 203359 h 333375"/>
                <a:gd name="connsiteX28" fmla="*/ 197644 w 304800"/>
                <a:gd name="connsiteY28" fmla="*/ 203359 h 333375"/>
                <a:gd name="connsiteX29" fmla="*/ 150019 w 304800"/>
                <a:gd name="connsiteY29" fmla="*/ 73819 h 333375"/>
                <a:gd name="connsiteX30" fmla="*/ 104299 w 304800"/>
                <a:gd name="connsiteY30" fmla="*/ 20335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4800" h="333375">
                  <a:moveTo>
                    <a:pt x="230981" y="290036"/>
                  </a:moveTo>
                  <a:lnTo>
                    <a:pt x="215741" y="250984"/>
                  </a:lnTo>
                  <a:lnTo>
                    <a:pt x="88106" y="250984"/>
                  </a:lnTo>
                  <a:lnTo>
                    <a:pt x="72866" y="290989"/>
                  </a:lnTo>
                  <a:cubicBezTo>
                    <a:pt x="67151" y="306229"/>
                    <a:pt x="62389" y="317659"/>
                    <a:pt x="57626" y="322421"/>
                  </a:cubicBezTo>
                  <a:cubicBezTo>
                    <a:pt x="52864" y="327184"/>
                    <a:pt x="47149" y="330994"/>
                    <a:pt x="37624" y="330994"/>
                  </a:cubicBezTo>
                  <a:cubicBezTo>
                    <a:pt x="30004" y="330994"/>
                    <a:pt x="22384" y="328136"/>
                    <a:pt x="16669" y="322421"/>
                  </a:cubicBezTo>
                  <a:cubicBezTo>
                    <a:pt x="10954" y="316706"/>
                    <a:pt x="7144" y="310039"/>
                    <a:pt x="7144" y="302419"/>
                  </a:cubicBezTo>
                  <a:cubicBezTo>
                    <a:pt x="7144" y="297656"/>
                    <a:pt x="8096" y="293846"/>
                    <a:pt x="9049" y="289084"/>
                  </a:cubicBezTo>
                  <a:cubicBezTo>
                    <a:pt x="10001" y="284321"/>
                    <a:pt x="12859" y="278606"/>
                    <a:pt x="15716" y="270034"/>
                  </a:cubicBezTo>
                  <a:lnTo>
                    <a:pt x="95726" y="66199"/>
                  </a:lnTo>
                  <a:cubicBezTo>
                    <a:pt x="97631" y="60484"/>
                    <a:pt x="100489" y="52864"/>
                    <a:pt x="104299" y="45244"/>
                  </a:cubicBezTo>
                  <a:cubicBezTo>
                    <a:pt x="107156" y="36671"/>
                    <a:pt x="110966" y="30004"/>
                    <a:pt x="114776" y="25241"/>
                  </a:cubicBezTo>
                  <a:cubicBezTo>
                    <a:pt x="118586" y="19526"/>
                    <a:pt x="123349" y="15716"/>
                    <a:pt x="129064" y="11906"/>
                  </a:cubicBezTo>
                  <a:cubicBezTo>
                    <a:pt x="134779" y="8096"/>
                    <a:pt x="142399" y="7144"/>
                    <a:pt x="150971" y="7144"/>
                  </a:cubicBezTo>
                  <a:cubicBezTo>
                    <a:pt x="159544" y="7144"/>
                    <a:pt x="167164" y="9049"/>
                    <a:pt x="172879" y="11906"/>
                  </a:cubicBezTo>
                  <a:cubicBezTo>
                    <a:pt x="178594" y="15716"/>
                    <a:pt x="183356" y="19526"/>
                    <a:pt x="187166" y="25241"/>
                  </a:cubicBezTo>
                  <a:cubicBezTo>
                    <a:pt x="190976" y="30956"/>
                    <a:pt x="193834" y="36671"/>
                    <a:pt x="196691" y="42386"/>
                  </a:cubicBezTo>
                  <a:cubicBezTo>
                    <a:pt x="199549" y="48101"/>
                    <a:pt x="202406" y="56674"/>
                    <a:pt x="206216" y="67151"/>
                  </a:cubicBezTo>
                  <a:lnTo>
                    <a:pt x="288131" y="270034"/>
                  </a:lnTo>
                  <a:cubicBezTo>
                    <a:pt x="294799" y="285274"/>
                    <a:pt x="297656" y="296704"/>
                    <a:pt x="297656" y="303371"/>
                  </a:cubicBezTo>
                  <a:cubicBezTo>
                    <a:pt x="297656" y="310991"/>
                    <a:pt x="294799" y="317659"/>
                    <a:pt x="288131" y="323374"/>
                  </a:cubicBezTo>
                  <a:cubicBezTo>
                    <a:pt x="282416" y="329089"/>
                    <a:pt x="274796" y="332899"/>
                    <a:pt x="266224" y="332899"/>
                  </a:cubicBezTo>
                  <a:cubicBezTo>
                    <a:pt x="261461" y="332899"/>
                    <a:pt x="256699" y="331946"/>
                    <a:pt x="253841" y="330041"/>
                  </a:cubicBezTo>
                  <a:cubicBezTo>
                    <a:pt x="250031" y="328136"/>
                    <a:pt x="247174" y="326231"/>
                    <a:pt x="245269" y="322421"/>
                  </a:cubicBezTo>
                  <a:cubicBezTo>
                    <a:pt x="242411" y="319564"/>
                    <a:pt x="240506" y="314801"/>
                    <a:pt x="237649" y="308134"/>
                  </a:cubicBezTo>
                  <a:cubicBezTo>
                    <a:pt x="234791" y="301466"/>
                    <a:pt x="232886" y="294799"/>
                    <a:pt x="230981" y="290036"/>
                  </a:cubicBezTo>
                  <a:close/>
                  <a:moveTo>
                    <a:pt x="104299" y="203359"/>
                  </a:moveTo>
                  <a:lnTo>
                    <a:pt x="197644" y="203359"/>
                  </a:lnTo>
                  <a:lnTo>
                    <a:pt x="150019" y="73819"/>
                  </a:lnTo>
                  <a:lnTo>
                    <a:pt x="104299" y="203359"/>
                  </a:lnTo>
                  <a:close/>
                </a:path>
              </a:pathLst>
            </a:custGeom>
            <a:solidFill>
              <a:srgbClr val="FFFFFF"/>
            </a:solidFill>
            <a:ln w="9525"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B47241B8-A751-45F4-8A5A-4126A44FB572}"/>
                </a:ext>
              </a:extLst>
            </p:cNvPr>
            <p:cNvSpPr/>
            <p:nvPr/>
          </p:nvSpPr>
          <p:spPr>
            <a:xfrm>
              <a:off x="4330680" y="1133474"/>
              <a:ext cx="535411" cy="700153"/>
            </a:xfrm>
            <a:custGeom>
              <a:avLst/>
              <a:gdLst>
                <a:gd name="connsiteX0" fmla="*/ 128111 w 247650"/>
                <a:gd name="connsiteY0" fmla="*/ 197644 h 323850"/>
                <a:gd name="connsiteX1" fmla="*/ 70009 w 247650"/>
                <a:gd name="connsiteY1" fmla="*/ 197644 h 323850"/>
                <a:gd name="connsiteX2" fmla="*/ 70009 w 247650"/>
                <a:gd name="connsiteY2" fmla="*/ 286226 h 323850"/>
                <a:gd name="connsiteX3" fmla="*/ 61436 w 247650"/>
                <a:gd name="connsiteY3" fmla="*/ 314801 h 323850"/>
                <a:gd name="connsiteX4" fmla="*/ 38576 w 247650"/>
                <a:gd name="connsiteY4" fmla="*/ 324326 h 323850"/>
                <a:gd name="connsiteX5" fmla="*/ 15716 w 247650"/>
                <a:gd name="connsiteY5" fmla="*/ 314801 h 323850"/>
                <a:gd name="connsiteX6" fmla="*/ 7144 w 247650"/>
                <a:gd name="connsiteY6" fmla="*/ 286226 h 323850"/>
                <a:gd name="connsiteX7" fmla="*/ 7144 w 247650"/>
                <a:gd name="connsiteY7" fmla="*/ 45244 h 323850"/>
                <a:gd name="connsiteX8" fmla="*/ 16669 w 247650"/>
                <a:gd name="connsiteY8" fmla="*/ 15716 h 323850"/>
                <a:gd name="connsiteX9" fmla="*/ 47149 w 247650"/>
                <a:gd name="connsiteY9" fmla="*/ 7144 h 323850"/>
                <a:gd name="connsiteX10" fmla="*/ 129064 w 247650"/>
                <a:gd name="connsiteY10" fmla="*/ 7144 h 323850"/>
                <a:gd name="connsiteX11" fmla="*/ 184309 w 247650"/>
                <a:gd name="connsiteY11" fmla="*/ 12859 h 323850"/>
                <a:gd name="connsiteX12" fmla="*/ 217646 w 247650"/>
                <a:gd name="connsiteY12" fmla="*/ 30956 h 323850"/>
                <a:gd name="connsiteX13" fmla="*/ 238601 w 247650"/>
                <a:gd name="connsiteY13" fmla="*/ 61436 h 323850"/>
                <a:gd name="connsiteX14" fmla="*/ 246221 w 247650"/>
                <a:gd name="connsiteY14" fmla="*/ 101441 h 323850"/>
                <a:gd name="connsiteX15" fmla="*/ 216694 w 247650"/>
                <a:gd name="connsiteY15" fmla="*/ 173831 h 323850"/>
                <a:gd name="connsiteX16" fmla="*/ 128111 w 247650"/>
                <a:gd name="connsiteY16" fmla="*/ 197644 h 323850"/>
                <a:gd name="connsiteX17" fmla="*/ 112871 w 247650"/>
                <a:gd name="connsiteY17" fmla="*/ 53816 h 323850"/>
                <a:gd name="connsiteX18" fmla="*/ 70009 w 247650"/>
                <a:gd name="connsiteY18" fmla="*/ 53816 h 323850"/>
                <a:gd name="connsiteX19" fmla="*/ 70009 w 247650"/>
                <a:gd name="connsiteY19" fmla="*/ 150019 h 323850"/>
                <a:gd name="connsiteX20" fmla="*/ 112871 w 247650"/>
                <a:gd name="connsiteY20" fmla="*/ 150019 h 323850"/>
                <a:gd name="connsiteX21" fmla="*/ 150019 w 247650"/>
                <a:gd name="connsiteY21" fmla="*/ 145256 h 323850"/>
                <a:gd name="connsiteX22" fmla="*/ 172879 w 247650"/>
                <a:gd name="connsiteY22" fmla="*/ 130016 h 323850"/>
                <a:gd name="connsiteX23" fmla="*/ 180499 w 247650"/>
                <a:gd name="connsiteY23" fmla="*/ 102394 h 323850"/>
                <a:gd name="connsiteX24" fmla="*/ 168116 w 247650"/>
                <a:gd name="connsiteY24" fmla="*/ 68104 h 323850"/>
                <a:gd name="connsiteX25" fmla="*/ 112871 w 247650"/>
                <a:gd name="connsiteY25" fmla="*/ 53816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7650" h="323850">
                  <a:moveTo>
                    <a:pt x="128111" y="197644"/>
                  </a:moveTo>
                  <a:lnTo>
                    <a:pt x="70009" y="197644"/>
                  </a:lnTo>
                  <a:lnTo>
                    <a:pt x="70009" y="286226"/>
                  </a:lnTo>
                  <a:cubicBezTo>
                    <a:pt x="70009" y="298609"/>
                    <a:pt x="67151" y="308134"/>
                    <a:pt x="61436" y="314801"/>
                  </a:cubicBezTo>
                  <a:cubicBezTo>
                    <a:pt x="55721" y="321469"/>
                    <a:pt x="48101" y="324326"/>
                    <a:pt x="38576" y="324326"/>
                  </a:cubicBezTo>
                  <a:cubicBezTo>
                    <a:pt x="29051" y="324326"/>
                    <a:pt x="21431" y="321469"/>
                    <a:pt x="15716" y="314801"/>
                  </a:cubicBezTo>
                  <a:cubicBezTo>
                    <a:pt x="10001" y="308134"/>
                    <a:pt x="7144" y="298609"/>
                    <a:pt x="7144" y="286226"/>
                  </a:cubicBezTo>
                  <a:lnTo>
                    <a:pt x="7144" y="45244"/>
                  </a:lnTo>
                  <a:cubicBezTo>
                    <a:pt x="7144" y="30956"/>
                    <a:pt x="10001" y="21431"/>
                    <a:pt x="16669" y="15716"/>
                  </a:cubicBezTo>
                  <a:cubicBezTo>
                    <a:pt x="23336" y="10001"/>
                    <a:pt x="32861" y="7144"/>
                    <a:pt x="47149" y="7144"/>
                  </a:cubicBezTo>
                  <a:lnTo>
                    <a:pt x="129064" y="7144"/>
                  </a:lnTo>
                  <a:cubicBezTo>
                    <a:pt x="152876" y="7144"/>
                    <a:pt x="171926" y="9049"/>
                    <a:pt x="184309" y="12859"/>
                  </a:cubicBezTo>
                  <a:cubicBezTo>
                    <a:pt x="196691" y="16669"/>
                    <a:pt x="208121" y="22384"/>
                    <a:pt x="217646" y="30956"/>
                  </a:cubicBezTo>
                  <a:cubicBezTo>
                    <a:pt x="227171" y="39529"/>
                    <a:pt x="233839" y="49054"/>
                    <a:pt x="238601" y="61436"/>
                  </a:cubicBezTo>
                  <a:cubicBezTo>
                    <a:pt x="243364" y="73819"/>
                    <a:pt x="246221" y="87154"/>
                    <a:pt x="246221" y="101441"/>
                  </a:cubicBezTo>
                  <a:cubicBezTo>
                    <a:pt x="246221" y="133826"/>
                    <a:pt x="236696" y="157639"/>
                    <a:pt x="216694" y="173831"/>
                  </a:cubicBezTo>
                  <a:cubicBezTo>
                    <a:pt x="196691" y="190024"/>
                    <a:pt x="167164" y="197644"/>
                    <a:pt x="128111" y="197644"/>
                  </a:cubicBezTo>
                  <a:close/>
                  <a:moveTo>
                    <a:pt x="112871" y="53816"/>
                  </a:moveTo>
                  <a:lnTo>
                    <a:pt x="70009" y="53816"/>
                  </a:lnTo>
                  <a:lnTo>
                    <a:pt x="70009" y="150019"/>
                  </a:lnTo>
                  <a:lnTo>
                    <a:pt x="112871" y="150019"/>
                  </a:lnTo>
                  <a:cubicBezTo>
                    <a:pt x="128111" y="150019"/>
                    <a:pt x="140494" y="148114"/>
                    <a:pt x="150019" y="145256"/>
                  </a:cubicBezTo>
                  <a:cubicBezTo>
                    <a:pt x="160496" y="142399"/>
                    <a:pt x="168116" y="136684"/>
                    <a:pt x="172879" y="130016"/>
                  </a:cubicBezTo>
                  <a:cubicBezTo>
                    <a:pt x="178594" y="123349"/>
                    <a:pt x="180499" y="113824"/>
                    <a:pt x="180499" y="102394"/>
                  </a:cubicBezTo>
                  <a:cubicBezTo>
                    <a:pt x="180499" y="88106"/>
                    <a:pt x="176689" y="77629"/>
                    <a:pt x="168116" y="68104"/>
                  </a:cubicBezTo>
                  <a:cubicBezTo>
                    <a:pt x="159544" y="58579"/>
                    <a:pt x="141446" y="53816"/>
                    <a:pt x="112871" y="53816"/>
                  </a:cubicBezTo>
                  <a:close/>
                </a:path>
              </a:pathLst>
            </a:custGeom>
            <a:solidFill>
              <a:srgbClr val="FFFFFF"/>
            </a:solid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D28D96C1-A450-4A63-9D8D-A17A060D091A}"/>
                </a:ext>
              </a:extLst>
            </p:cNvPr>
            <p:cNvSpPr/>
            <p:nvPr/>
          </p:nvSpPr>
          <p:spPr>
            <a:xfrm>
              <a:off x="4960817" y="1131415"/>
              <a:ext cx="576596" cy="720746"/>
            </a:xfrm>
            <a:custGeom>
              <a:avLst/>
              <a:gdLst>
                <a:gd name="connsiteX0" fmla="*/ 92869 w 266700"/>
                <a:gd name="connsiteY0" fmla="*/ 187166 h 333375"/>
                <a:gd name="connsiteX1" fmla="*/ 70961 w 266700"/>
                <a:gd name="connsiteY1" fmla="*/ 187166 h 333375"/>
                <a:gd name="connsiteX2" fmla="*/ 70961 w 266700"/>
                <a:gd name="connsiteY2" fmla="*/ 288131 h 333375"/>
                <a:gd name="connsiteX3" fmla="*/ 62389 w 266700"/>
                <a:gd name="connsiteY3" fmla="*/ 317659 h 333375"/>
                <a:gd name="connsiteX4" fmla="*/ 39529 w 266700"/>
                <a:gd name="connsiteY4" fmla="*/ 327184 h 333375"/>
                <a:gd name="connsiteX5" fmla="*/ 15716 w 266700"/>
                <a:gd name="connsiteY5" fmla="*/ 317659 h 333375"/>
                <a:gd name="connsiteX6" fmla="*/ 7144 w 266700"/>
                <a:gd name="connsiteY6" fmla="*/ 289084 h 333375"/>
                <a:gd name="connsiteX7" fmla="*/ 7144 w 266700"/>
                <a:gd name="connsiteY7" fmla="*/ 46196 h 333375"/>
                <a:gd name="connsiteX8" fmla="*/ 16669 w 266700"/>
                <a:gd name="connsiteY8" fmla="*/ 16669 h 333375"/>
                <a:gd name="connsiteX9" fmla="*/ 46196 w 266700"/>
                <a:gd name="connsiteY9" fmla="*/ 7144 h 333375"/>
                <a:gd name="connsiteX10" fmla="*/ 150019 w 266700"/>
                <a:gd name="connsiteY10" fmla="*/ 7144 h 333375"/>
                <a:gd name="connsiteX11" fmla="*/ 186214 w 266700"/>
                <a:gd name="connsiteY11" fmla="*/ 9049 h 333375"/>
                <a:gd name="connsiteX12" fmla="*/ 213836 w 266700"/>
                <a:gd name="connsiteY12" fmla="*/ 16669 h 333375"/>
                <a:gd name="connsiteX13" fmla="*/ 239554 w 266700"/>
                <a:gd name="connsiteY13" fmla="*/ 34766 h 333375"/>
                <a:gd name="connsiteX14" fmla="*/ 256699 w 266700"/>
                <a:gd name="connsiteY14" fmla="*/ 61436 h 333375"/>
                <a:gd name="connsiteX15" fmla="*/ 262414 w 266700"/>
                <a:gd name="connsiteY15" fmla="*/ 93821 h 333375"/>
                <a:gd name="connsiteX16" fmla="*/ 242411 w 266700"/>
                <a:gd name="connsiteY16" fmla="*/ 150019 h 333375"/>
                <a:gd name="connsiteX17" fmla="*/ 182404 w 266700"/>
                <a:gd name="connsiteY17" fmla="*/ 179546 h 333375"/>
                <a:gd name="connsiteX18" fmla="*/ 214789 w 266700"/>
                <a:gd name="connsiteY18" fmla="*/ 206216 h 333375"/>
                <a:gd name="connsiteX19" fmla="*/ 242411 w 266700"/>
                <a:gd name="connsiteY19" fmla="*/ 243364 h 333375"/>
                <a:gd name="connsiteX20" fmla="*/ 261461 w 266700"/>
                <a:gd name="connsiteY20" fmla="*/ 279559 h 333375"/>
                <a:gd name="connsiteX21" fmla="*/ 268129 w 266700"/>
                <a:gd name="connsiteY21" fmla="*/ 301466 h 333375"/>
                <a:gd name="connsiteX22" fmla="*/ 264319 w 266700"/>
                <a:gd name="connsiteY22" fmla="*/ 313849 h 333375"/>
                <a:gd name="connsiteX23" fmla="*/ 253841 w 266700"/>
                <a:gd name="connsiteY23" fmla="*/ 323374 h 333375"/>
                <a:gd name="connsiteX24" fmla="*/ 237649 w 266700"/>
                <a:gd name="connsiteY24" fmla="*/ 327184 h 333375"/>
                <a:gd name="connsiteX25" fmla="*/ 219551 w 266700"/>
                <a:gd name="connsiteY25" fmla="*/ 322421 h 333375"/>
                <a:gd name="connsiteX26" fmla="*/ 207169 w 266700"/>
                <a:gd name="connsiteY26" fmla="*/ 310039 h 333375"/>
                <a:gd name="connsiteX27" fmla="*/ 192881 w 266700"/>
                <a:gd name="connsiteY27" fmla="*/ 287179 h 333375"/>
                <a:gd name="connsiteX28" fmla="*/ 167164 w 266700"/>
                <a:gd name="connsiteY28" fmla="*/ 244316 h 333375"/>
                <a:gd name="connsiteX29" fmla="*/ 142399 w 266700"/>
                <a:gd name="connsiteY29" fmla="*/ 209074 h 333375"/>
                <a:gd name="connsiteX30" fmla="*/ 120491 w 266700"/>
                <a:gd name="connsiteY30" fmla="*/ 191929 h 333375"/>
                <a:gd name="connsiteX31" fmla="*/ 92869 w 266700"/>
                <a:gd name="connsiteY31" fmla="*/ 187166 h 333375"/>
                <a:gd name="connsiteX32" fmla="*/ 129064 w 266700"/>
                <a:gd name="connsiteY32" fmla="*/ 54769 h 333375"/>
                <a:gd name="connsiteX33" fmla="*/ 70009 w 266700"/>
                <a:gd name="connsiteY33" fmla="*/ 54769 h 333375"/>
                <a:gd name="connsiteX34" fmla="*/ 70009 w 266700"/>
                <a:gd name="connsiteY34" fmla="*/ 141446 h 333375"/>
                <a:gd name="connsiteX35" fmla="*/ 127159 w 266700"/>
                <a:gd name="connsiteY35" fmla="*/ 141446 h 333375"/>
                <a:gd name="connsiteX36" fmla="*/ 165259 w 266700"/>
                <a:gd name="connsiteY36" fmla="*/ 137636 h 333375"/>
                <a:gd name="connsiteX37" fmla="*/ 189071 w 266700"/>
                <a:gd name="connsiteY37" fmla="*/ 124301 h 333375"/>
                <a:gd name="connsiteX38" fmla="*/ 197644 w 266700"/>
                <a:gd name="connsiteY38" fmla="*/ 97631 h 333375"/>
                <a:gd name="connsiteX39" fmla="*/ 190976 w 266700"/>
                <a:gd name="connsiteY39" fmla="*/ 74771 h 333375"/>
                <a:gd name="connsiteX40" fmla="*/ 172879 w 266700"/>
                <a:gd name="connsiteY40" fmla="*/ 59531 h 333375"/>
                <a:gd name="connsiteX41" fmla="*/ 129064 w 266700"/>
                <a:gd name="connsiteY41" fmla="*/ 5476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66700" h="333375">
                  <a:moveTo>
                    <a:pt x="92869" y="187166"/>
                  </a:moveTo>
                  <a:lnTo>
                    <a:pt x="70961" y="187166"/>
                  </a:lnTo>
                  <a:lnTo>
                    <a:pt x="70961" y="288131"/>
                  </a:lnTo>
                  <a:cubicBezTo>
                    <a:pt x="70961" y="301466"/>
                    <a:pt x="68104" y="310991"/>
                    <a:pt x="62389" y="317659"/>
                  </a:cubicBezTo>
                  <a:cubicBezTo>
                    <a:pt x="56674" y="324326"/>
                    <a:pt x="49054" y="327184"/>
                    <a:pt x="39529" y="327184"/>
                  </a:cubicBezTo>
                  <a:cubicBezTo>
                    <a:pt x="29051" y="327184"/>
                    <a:pt x="21431" y="324326"/>
                    <a:pt x="15716" y="317659"/>
                  </a:cubicBezTo>
                  <a:cubicBezTo>
                    <a:pt x="10001" y="310991"/>
                    <a:pt x="7144" y="301466"/>
                    <a:pt x="7144" y="289084"/>
                  </a:cubicBezTo>
                  <a:lnTo>
                    <a:pt x="7144" y="46196"/>
                  </a:lnTo>
                  <a:cubicBezTo>
                    <a:pt x="7144" y="32861"/>
                    <a:pt x="10001" y="22384"/>
                    <a:pt x="16669" y="16669"/>
                  </a:cubicBezTo>
                  <a:cubicBezTo>
                    <a:pt x="22384" y="10954"/>
                    <a:pt x="32861" y="7144"/>
                    <a:pt x="46196" y="7144"/>
                  </a:cubicBezTo>
                  <a:lnTo>
                    <a:pt x="150019" y="7144"/>
                  </a:lnTo>
                  <a:cubicBezTo>
                    <a:pt x="164306" y="7144"/>
                    <a:pt x="176689" y="8096"/>
                    <a:pt x="186214" y="9049"/>
                  </a:cubicBezTo>
                  <a:cubicBezTo>
                    <a:pt x="196691" y="10001"/>
                    <a:pt x="205264" y="12859"/>
                    <a:pt x="213836" y="16669"/>
                  </a:cubicBezTo>
                  <a:cubicBezTo>
                    <a:pt x="223361" y="20479"/>
                    <a:pt x="231934" y="27146"/>
                    <a:pt x="239554" y="34766"/>
                  </a:cubicBezTo>
                  <a:cubicBezTo>
                    <a:pt x="247174" y="42386"/>
                    <a:pt x="252889" y="51911"/>
                    <a:pt x="256699" y="61436"/>
                  </a:cubicBezTo>
                  <a:cubicBezTo>
                    <a:pt x="260509" y="71914"/>
                    <a:pt x="262414" y="82391"/>
                    <a:pt x="262414" y="93821"/>
                  </a:cubicBezTo>
                  <a:cubicBezTo>
                    <a:pt x="262414" y="117634"/>
                    <a:pt x="255746" y="135731"/>
                    <a:pt x="242411" y="150019"/>
                  </a:cubicBezTo>
                  <a:cubicBezTo>
                    <a:pt x="229076" y="164306"/>
                    <a:pt x="209074" y="173831"/>
                    <a:pt x="182404" y="179546"/>
                  </a:cubicBezTo>
                  <a:cubicBezTo>
                    <a:pt x="193834" y="185261"/>
                    <a:pt x="204311" y="194786"/>
                    <a:pt x="214789" y="206216"/>
                  </a:cubicBezTo>
                  <a:cubicBezTo>
                    <a:pt x="225266" y="217646"/>
                    <a:pt x="233839" y="230029"/>
                    <a:pt x="242411" y="243364"/>
                  </a:cubicBezTo>
                  <a:cubicBezTo>
                    <a:pt x="250031" y="256699"/>
                    <a:pt x="256699" y="268129"/>
                    <a:pt x="261461" y="279559"/>
                  </a:cubicBezTo>
                  <a:cubicBezTo>
                    <a:pt x="266224" y="290036"/>
                    <a:pt x="268129" y="297656"/>
                    <a:pt x="268129" y="301466"/>
                  </a:cubicBezTo>
                  <a:cubicBezTo>
                    <a:pt x="268129" y="305276"/>
                    <a:pt x="267176" y="310039"/>
                    <a:pt x="264319" y="313849"/>
                  </a:cubicBezTo>
                  <a:cubicBezTo>
                    <a:pt x="261461" y="317659"/>
                    <a:pt x="257651" y="321469"/>
                    <a:pt x="253841" y="323374"/>
                  </a:cubicBezTo>
                  <a:cubicBezTo>
                    <a:pt x="249079" y="325279"/>
                    <a:pt x="244316" y="327184"/>
                    <a:pt x="237649" y="327184"/>
                  </a:cubicBezTo>
                  <a:cubicBezTo>
                    <a:pt x="230981" y="327184"/>
                    <a:pt x="224314" y="325279"/>
                    <a:pt x="219551" y="322421"/>
                  </a:cubicBezTo>
                  <a:cubicBezTo>
                    <a:pt x="214789" y="318611"/>
                    <a:pt x="210979" y="314801"/>
                    <a:pt x="207169" y="310039"/>
                  </a:cubicBezTo>
                  <a:cubicBezTo>
                    <a:pt x="203359" y="305276"/>
                    <a:pt x="198596" y="297656"/>
                    <a:pt x="192881" y="287179"/>
                  </a:cubicBezTo>
                  <a:lnTo>
                    <a:pt x="167164" y="244316"/>
                  </a:lnTo>
                  <a:cubicBezTo>
                    <a:pt x="157639" y="229076"/>
                    <a:pt x="150019" y="216694"/>
                    <a:pt x="142399" y="209074"/>
                  </a:cubicBezTo>
                  <a:cubicBezTo>
                    <a:pt x="134779" y="200501"/>
                    <a:pt x="128111" y="195739"/>
                    <a:pt x="120491" y="191929"/>
                  </a:cubicBezTo>
                  <a:cubicBezTo>
                    <a:pt x="113824" y="188119"/>
                    <a:pt x="104299" y="187166"/>
                    <a:pt x="92869" y="187166"/>
                  </a:cubicBezTo>
                  <a:close/>
                  <a:moveTo>
                    <a:pt x="129064" y="54769"/>
                  </a:moveTo>
                  <a:lnTo>
                    <a:pt x="70009" y="54769"/>
                  </a:lnTo>
                  <a:lnTo>
                    <a:pt x="70009" y="141446"/>
                  </a:lnTo>
                  <a:lnTo>
                    <a:pt x="127159" y="141446"/>
                  </a:lnTo>
                  <a:cubicBezTo>
                    <a:pt x="142399" y="141446"/>
                    <a:pt x="155734" y="140494"/>
                    <a:pt x="165259" y="137636"/>
                  </a:cubicBezTo>
                  <a:cubicBezTo>
                    <a:pt x="174784" y="134779"/>
                    <a:pt x="183356" y="130016"/>
                    <a:pt x="189071" y="124301"/>
                  </a:cubicBezTo>
                  <a:cubicBezTo>
                    <a:pt x="194786" y="117634"/>
                    <a:pt x="197644" y="109061"/>
                    <a:pt x="197644" y="97631"/>
                  </a:cubicBezTo>
                  <a:cubicBezTo>
                    <a:pt x="197644" y="89059"/>
                    <a:pt x="195739" y="81439"/>
                    <a:pt x="190976" y="74771"/>
                  </a:cubicBezTo>
                  <a:cubicBezTo>
                    <a:pt x="186214" y="68104"/>
                    <a:pt x="180499" y="63341"/>
                    <a:pt x="172879" y="59531"/>
                  </a:cubicBezTo>
                  <a:cubicBezTo>
                    <a:pt x="165259" y="56674"/>
                    <a:pt x="150971" y="54769"/>
                    <a:pt x="129064" y="54769"/>
                  </a:cubicBezTo>
                  <a:close/>
                </a:path>
              </a:pathLst>
            </a:custGeom>
            <a:solidFill>
              <a:srgbClr val="FFFFFF"/>
            </a:solid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C83A06F4-3F8E-48FC-8E65-D234EDDD65E4}"/>
                </a:ext>
              </a:extLst>
            </p:cNvPr>
            <p:cNvSpPr/>
            <p:nvPr/>
          </p:nvSpPr>
          <p:spPr>
            <a:xfrm>
              <a:off x="5533295" y="1131415"/>
              <a:ext cx="597189" cy="720746"/>
            </a:xfrm>
            <a:custGeom>
              <a:avLst/>
              <a:gdLst>
                <a:gd name="connsiteX0" fmla="*/ 240506 w 276225"/>
                <a:gd name="connsiteY0" fmla="*/ 59531 h 333375"/>
                <a:gd name="connsiteX1" fmla="*/ 170974 w 276225"/>
                <a:gd name="connsiteY1" fmla="*/ 59531 h 333375"/>
                <a:gd name="connsiteX2" fmla="*/ 170974 w 276225"/>
                <a:gd name="connsiteY2" fmla="*/ 288131 h 333375"/>
                <a:gd name="connsiteX3" fmla="*/ 162401 w 276225"/>
                <a:gd name="connsiteY3" fmla="*/ 317659 h 333375"/>
                <a:gd name="connsiteX4" fmla="*/ 139541 w 276225"/>
                <a:gd name="connsiteY4" fmla="*/ 327184 h 333375"/>
                <a:gd name="connsiteX5" fmla="*/ 116681 w 276225"/>
                <a:gd name="connsiteY5" fmla="*/ 317659 h 333375"/>
                <a:gd name="connsiteX6" fmla="*/ 108109 w 276225"/>
                <a:gd name="connsiteY6" fmla="*/ 288131 h 333375"/>
                <a:gd name="connsiteX7" fmla="*/ 108109 w 276225"/>
                <a:gd name="connsiteY7" fmla="*/ 59531 h 333375"/>
                <a:gd name="connsiteX8" fmla="*/ 38576 w 276225"/>
                <a:gd name="connsiteY8" fmla="*/ 59531 h 333375"/>
                <a:gd name="connsiteX9" fmla="*/ 14764 w 276225"/>
                <a:gd name="connsiteY9" fmla="*/ 51911 h 333375"/>
                <a:gd name="connsiteX10" fmla="*/ 7144 w 276225"/>
                <a:gd name="connsiteY10" fmla="*/ 32861 h 333375"/>
                <a:gd name="connsiteX11" fmla="*/ 15716 w 276225"/>
                <a:gd name="connsiteY11" fmla="*/ 13811 h 333375"/>
                <a:gd name="connsiteX12" fmla="*/ 39529 w 276225"/>
                <a:gd name="connsiteY12" fmla="*/ 7144 h 333375"/>
                <a:gd name="connsiteX13" fmla="*/ 241459 w 276225"/>
                <a:gd name="connsiteY13" fmla="*/ 7144 h 333375"/>
                <a:gd name="connsiteX14" fmla="*/ 266224 w 276225"/>
                <a:gd name="connsiteY14" fmla="*/ 14764 h 333375"/>
                <a:gd name="connsiteX15" fmla="*/ 273844 w 276225"/>
                <a:gd name="connsiteY15" fmla="*/ 33814 h 333375"/>
                <a:gd name="connsiteX16" fmla="*/ 265271 w 276225"/>
                <a:gd name="connsiteY16" fmla="*/ 52864 h 333375"/>
                <a:gd name="connsiteX17" fmla="*/ 240506 w 276225"/>
                <a:gd name="connsiteY17" fmla="*/ 59531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6225" h="333375">
                  <a:moveTo>
                    <a:pt x="240506" y="59531"/>
                  </a:moveTo>
                  <a:lnTo>
                    <a:pt x="170974" y="59531"/>
                  </a:lnTo>
                  <a:lnTo>
                    <a:pt x="170974" y="288131"/>
                  </a:lnTo>
                  <a:cubicBezTo>
                    <a:pt x="170974" y="301466"/>
                    <a:pt x="168116" y="310991"/>
                    <a:pt x="162401" y="317659"/>
                  </a:cubicBezTo>
                  <a:cubicBezTo>
                    <a:pt x="156686" y="324326"/>
                    <a:pt x="149066" y="327184"/>
                    <a:pt x="139541" y="327184"/>
                  </a:cubicBezTo>
                  <a:cubicBezTo>
                    <a:pt x="130016" y="327184"/>
                    <a:pt x="122396" y="324326"/>
                    <a:pt x="116681" y="317659"/>
                  </a:cubicBezTo>
                  <a:cubicBezTo>
                    <a:pt x="110966" y="310991"/>
                    <a:pt x="108109" y="301466"/>
                    <a:pt x="108109" y="288131"/>
                  </a:cubicBezTo>
                  <a:lnTo>
                    <a:pt x="108109" y="59531"/>
                  </a:lnTo>
                  <a:lnTo>
                    <a:pt x="38576" y="59531"/>
                  </a:lnTo>
                  <a:cubicBezTo>
                    <a:pt x="28099" y="59531"/>
                    <a:pt x="19526" y="56674"/>
                    <a:pt x="14764" y="51911"/>
                  </a:cubicBezTo>
                  <a:cubicBezTo>
                    <a:pt x="9049" y="47149"/>
                    <a:pt x="7144" y="40481"/>
                    <a:pt x="7144" y="32861"/>
                  </a:cubicBezTo>
                  <a:cubicBezTo>
                    <a:pt x="7144" y="24289"/>
                    <a:pt x="10001" y="18574"/>
                    <a:pt x="15716" y="13811"/>
                  </a:cubicBezTo>
                  <a:cubicBezTo>
                    <a:pt x="21431" y="9049"/>
                    <a:pt x="29051" y="7144"/>
                    <a:pt x="39529" y="7144"/>
                  </a:cubicBezTo>
                  <a:lnTo>
                    <a:pt x="241459" y="7144"/>
                  </a:lnTo>
                  <a:cubicBezTo>
                    <a:pt x="252889" y="7144"/>
                    <a:pt x="260509" y="10001"/>
                    <a:pt x="266224" y="14764"/>
                  </a:cubicBezTo>
                  <a:cubicBezTo>
                    <a:pt x="271939" y="19526"/>
                    <a:pt x="273844" y="26194"/>
                    <a:pt x="273844" y="33814"/>
                  </a:cubicBezTo>
                  <a:cubicBezTo>
                    <a:pt x="273844" y="41434"/>
                    <a:pt x="270986" y="48101"/>
                    <a:pt x="265271" y="52864"/>
                  </a:cubicBezTo>
                  <a:cubicBezTo>
                    <a:pt x="259556" y="57626"/>
                    <a:pt x="250984" y="59531"/>
                    <a:pt x="240506" y="59531"/>
                  </a:cubicBezTo>
                  <a:close/>
                </a:path>
              </a:pathLst>
            </a:custGeom>
            <a:solidFill>
              <a:srgbClr val="FFFFFF"/>
            </a:solidFill>
            <a:ln w="9525" cap="flat">
              <a:noFill/>
              <a:prstDash val="solid"/>
              <a:miter/>
            </a:ln>
          </p:spPr>
          <p:txBody>
            <a:bodyPr rtlCol="0" anchor="ctr"/>
            <a:lstStyle/>
            <a:p>
              <a:endParaRPr lang="en-GB"/>
            </a:p>
          </p:txBody>
        </p:sp>
      </p:grpSp>
      <p:pic>
        <p:nvPicPr>
          <p:cNvPr id="24" name="TitleAndEndImages">
            <a:extLst>
              <a:ext uri="{FF2B5EF4-FFF2-40B4-BE49-F238E27FC236}">
                <a16:creationId xmlns:a16="http://schemas.microsoft.com/office/drawing/2014/main" id="{73C69AE3-653A-40E0-80C2-FD5320A3CA0A}"/>
              </a:ext>
            </a:extLst>
          </p:cNvPr>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33445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_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636EDA-8083-4E23-8AB2-3FBD4D8DC40E}"/>
              </a:ext>
            </a:extLst>
          </p:cNvPr>
          <p:cNvGraphicFramePr>
            <a:graphicFrameLocks noChangeAspect="1"/>
          </p:cNvGraphicFramePr>
          <p:nvPr userDrawn="1">
            <p:custDataLst>
              <p:tags r:id="rId2"/>
            </p:custDataLst>
            <p:extLst>
              <p:ext uri="{D42A27DB-BD31-4B8C-83A1-F6EECF244321}">
                <p14:modId xmlns:p14="http://schemas.microsoft.com/office/powerpoint/2010/main" val="188780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7" name="think-cell Slide" r:id="rId6" imgW="592" imgH="595" progId="TCLayout.ActiveDocument.1">
                  <p:embed/>
                </p:oleObj>
              </mc:Choice>
              <mc:Fallback>
                <p:oleObj name="think-cell Slide" r:id="rId6" imgW="592" imgH="595" progId="TCLayout.ActiveDocument.1">
                  <p:embed/>
                  <p:pic>
                    <p:nvPicPr>
                      <p:cNvPr id="2" name="Object 1" hidden="1">
                        <a:extLst>
                          <a:ext uri="{FF2B5EF4-FFF2-40B4-BE49-F238E27FC236}">
                            <a16:creationId xmlns:a16="http://schemas.microsoft.com/office/drawing/2014/main" id="{7C636EDA-8083-4E23-8AB2-3FBD4D8DC40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1D40D1A-BAC8-4D97-8F1A-9CEEE51BD509}"/>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lnSpc>
                <a:spcPct val="90000"/>
              </a:lnSpc>
              <a:spcAft>
                <a:spcPts val="1000"/>
              </a:spcAft>
            </a:pPr>
            <a:endParaRPr lang="en-GB" sz="6000" b="0" i="0" baseline="0" dirty="0">
              <a:solidFill>
                <a:schemeClr val="bg1"/>
              </a:solidFill>
              <a:latin typeface="Trebuchet MS" panose="020B0603020202020204" pitchFamily="34" charset="0"/>
              <a:ea typeface="+mj-ea"/>
              <a:cs typeface="+mj-cs"/>
              <a:sym typeface="Trebuchet MS" panose="020B0603020202020204" pitchFamily="34" charset="0"/>
            </a:endParaRPr>
          </a:p>
        </p:txBody>
      </p:sp>
      <p:sp>
        <p:nvSpPr>
          <p:cNvPr id="17" name="Oval 16"/>
          <p:cNvSpPr/>
          <p:nvPr userDrawn="1"/>
        </p:nvSpPr>
        <p:spPr bwMode="black">
          <a:xfrm>
            <a:off x="3348003" y="675000"/>
            <a:ext cx="5508000" cy="5508000"/>
          </a:xfrm>
          <a:prstGeom prst="ellipse">
            <a:avLst/>
          </a:prstGeom>
          <a:gradFill flip="none" rotWithShape="1">
            <a:gsLst>
              <a:gs pos="0">
                <a:schemeClr val="tx2">
                  <a:lumMod val="75000"/>
                  <a:alpha val="8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grpSp>
        <p:nvGrpSpPr>
          <p:cNvPr id="7" name="Group 6">
            <a:extLst>
              <a:ext uri="{FF2B5EF4-FFF2-40B4-BE49-F238E27FC236}">
                <a16:creationId xmlns:a16="http://schemas.microsoft.com/office/drawing/2014/main" id="{D70CDBE3-24EA-4260-8F43-FB3F3B13E325}"/>
              </a:ext>
            </a:extLst>
          </p:cNvPr>
          <p:cNvGrpSpPr/>
          <p:nvPr userDrawn="1"/>
        </p:nvGrpSpPr>
        <p:grpSpPr>
          <a:xfrm>
            <a:off x="4130425" y="1700808"/>
            <a:ext cx="3931149" cy="2725574"/>
            <a:chOff x="4130425" y="1033050"/>
            <a:chExt cx="3931149" cy="2725574"/>
          </a:xfrm>
        </p:grpSpPr>
        <p:grpSp>
          <p:nvGrpSpPr>
            <p:cNvPr id="5" name="Group 4">
              <a:extLst>
                <a:ext uri="{FF2B5EF4-FFF2-40B4-BE49-F238E27FC236}">
                  <a16:creationId xmlns:a16="http://schemas.microsoft.com/office/drawing/2014/main" id="{457738F5-131B-451B-B87E-6FACD270F2FE}"/>
                </a:ext>
              </a:extLst>
            </p:cNvPr>
            <p:cNvGrpSpPr/>
            <p:nvPr userDrawn="1"/>
          </p:nvGrpSpPr>
          <p:grpSpPr>
            <a:xfrm>
              <a:off x="5221936" y="1033050"/>
              <a:ext cx="1760134" cy="1795338"/>
              <a:chOff x="932882" y="948139"/>
              <a:chExt cx="1029636" cy="1050230"/>
            </a:xfrm>
          </p:grpSpPr>
          <p:sp>
            <p:nvSpPr>
              <p:cNvPr id="10" name="Freeform: Shape 9">
                <a:extLst>
                  <a:ext uri="{FF2B5EF4-FFF2-40B4-BE49-F238E27FC236}">
                    <a16:creationId xmlns:a16="http://schemas.microsoft.com/office/drawing/2014/main" id="{0962DAAC-80F5-452E-A7B9-274E808C7B9F}"/>
                  </a:ext>
                </a:extLst>
              </p:cNvPr>
              <p:cNvSpPr/>
              <p:nvPr/>
            </p:nvSpPr>
            <p:spPr>
              <a:xfrm>
                <a:off x="986938" y="1008373"/>
                <a:ext cx="926672" cy="926673"/>
              </a:xfrm>
              <a:custGeom>
                <a:avLst/>
                <a:gdLst>
                  <a:gd name="connsiteX0" fmla="*/ 422196 w 428625"/>
                  <a:gd name="connsiteY0" fmla="*/ 214551 h 428625"/>
                  <a:gd name="connsiteX1" fmla="*/ 398383 w 428625"/>
                  <a:gd name="connsiteY1" fmla="*/ 187881 h 428625"/>
                  <a:gd name="connsiteX2" fmla="*/ 396478 w 428625"/>
                  <a:gd name="connsiteY2" fmla="*/ 186928 h 428625"/>
                  <a:gd name="connsiteX3" fmla="*/ 245031 w 428625"/>
                  <a:gd name="connsiteY3" fmla="*/ 186928 h 428625"/>
                  <a:gd name="connsiteX4" fmla="*/ 245031 w 428625"/>
                  <a:gd name="connsiteY4" fmla="*/ 33576 h 428625"/>
                  <a:gd name="connsiteX5" fmla="*/ 244078 w 428625"/>
                  <a:gd name="connsiteY5" fmla="*/ 31671 h 428625"/>
                  <a:gd name="connsiteX6" fmla="*/ 217408 w 428625"/>
                  <a:gd name="connsiteY6" fmla="*/ 7858 h 428625"/>
                  <a:gd name="connsiteX7" fmla="*/ 212646 w 428625"/>
                  <a:gd name="connsiteY7" fmla="*/ 7858 h 428625"/>
                  <a:gd name="connsiteX8" fmla="*/ 185976 w 428625"/>
                  <a:gd name="connsiteY8" fmla="*/ 31671 h 428625"/>
                  <a:gd name="connsiteX9" fmla="*/ 185023 w 428625"/>
                  <a:gd name="connsiteY9" fmla="*/ 33576 h 428625"/>
                  <a:gd name="connsiteX10" fmla="*/ 185023 w 428625"/>
                  <a:gd name="connsiteY10" fmla="*/ 186928 h 428625"/>
                  <a:gd name="connsiteX11" fmla="*/ 33576 w 428625"/>
                  <a:gd name="connsiteY11" fmla="*/ 186928 h 428625"/>
                  <a:gd name="connsiteX12" fmla="*/ 31671 w 428625"/>
                  <a:gd name="connsiteY12" fmla="*/ 187881 h 428625"/>
                  <a:gd name="connsiteX13" fmla="*/ 7858 w 428625"/>
                  <a:gd name="connsiteY13" fmla="*/ 214551 h 428625"/>
                  <a:gd name="connsiteX14" fmla="*/ 7858 w 428625"/>
                  <a:gd name="connsiteY14" fmla="*/ 219313 h 428625"/>
                  <a:gd name="connsiteX15" fmla="*/ 31671 w 428625"/>
                  <a:gd name="connsiteY15" fmla="*/ 245983 h 428625"/>
                  <a:gd name="connsiteX16" fmla="*/ 33576 w 428625"/>
                  <a:gd name="connsiteY16" fmla="*/ 246936 h 428625"/>
                  <a:gd name="connsiteX17" fmla="*/ 185023 w 428625"/>
                  <a:gd name="connsiteY17" fmla="*/ 246936 h 428625"/>
                  <a:gd name="connsiteX18" fmla="*/ 185023 w 428625"/>
                  <a:gd name="connsiteY18" fmla="*/ 400288 h 428625"/>
                  <a:gd name="connsiteX19" fmla="*/ 185976 w 428625"/>
                  <a:gd name="connsiteY19" fmla="*/ 402193 h 428625"/>
                  <a:gd name="connsiteX20" fmla="*/ 212646 w 428625"/>
                  <a:gd name="connsiteY20" fmla="*/ 426006 h 428625"/>
                  <a:gd name="connsiteX21" fmla="*/ 217408 w 428625"/>
                  <a:gd name="connsiteY21" fmla="*/ 426006 h 428625"/>
                  <a:gd name="connsiteX22" fmla="*/ 244078 w 428625"/>
                  <a:gd name="connsiteY22" fmla="*/ 402193 h 428625"/>
                  <a:gd name="connsiteX23" fmla="*/ 245031 w 428625"/>
                  <a:gd name="connsiteY23" fmla="*/ 400288 h 428625"/>
                  <a:gd name="connsiteX24" fmla="*/ 245031 w 428625"/>
                  <a:gd name="connsiteY24" fmla="*/ 246936 h 428625"/>
                  <a:gd name="connsiteX25" fmla="*/ 396478 w 428625"/>
                  <a:gd name="connsiteY25" fmla="*/ 246936 h 428625"/>
                  <a:gd name="connsiteX26" fmla="*/ 398383 w 428625"/>
                  <a:gd name="connsiteY26" fmla="*/ 245983 h 428625"/>
                  <a:gd name="connsiteX27" fmla="*/ 422196 w 428625"/>
                  <a:gd name="connsiteY27" fmla="*/ 219313 h 428625"/>
                  <a:gd name="connsiteX28" fmla="*/ 422196 w 428625"/>
                  <a:gd name="connsiteY28" fmla="*/ 214551 h 428625"/>
                  <a:gd name="connsiteX29" fmla="*/ 422196 w 428625"/>
                  <a:gd name="connsiteY29" fmla="*/ 214551 h 428625"/>
                  <a:gd name="connsiteX30" fmla="*/ 70723 w 428625"/>
                  <a:gd name="connsiteY30" fmla="*/ 222171 h 428625"/>
                  <a:gd name="connsiteX31" fmla="*/ 41196 w 428625"/>
                  <a:gd name="connsiteY31" fmla="*/ 222171 h 428625"/>
                  <a:gd name="connsiteX32" fmla="*/ 36433 w 428625"/>
                  <a:gd name="connsiteY32" fmla="*/ 217408 h 428625"/>
                  <a:gd name="connsiteX33" fmla="*/ 41196 w 428625"/>
                  <a:gd name="connsiteY33" fmla="*/ 212646 h 428625"/>
                  <a:gd name="connsiteX34" fmla="*/ 70723 w 428625"/>
                  <a:gd name="connsiteY34" fmla="*/ 212646 h 428625"/>
                  <a:gd name="connsiteX35" fmla="*/ 75486 w 428625"/>
                  <a:gd name="connsiteY35" fmla="*/ 217408 h 428625"/>
                  <a:gd name="connsiteX36" fmla="*/ 70723 w 428625"/>
                  <a:gd name="connsiteY36" fmla="*/ 222171 h 428625"/>
                  <a:gd name="connsiteX37" fmla="*/ 70723 w 428625"/>
                  <a:gd name="connsiteY37" fmla="*/ 222171 h 428625"/>
                  <a:gd name="connsiteX38" fmla="*/ 124063 w 428625"/>
                  <a:gd name="connsiteY38" fmla="*/ 222171 h 428625"/>
                  <a:gd name="connsiteX39" fmla="*/ 94536 w 428625"/>
                  <a:gd name="connsiteY39" fmla="*/ 222171 h 428625"/>
                  <a:gd name="connsiteX40" fmla="*/ 89773 w 428625"/>
                  <a:gd name="connsiteY40" fmla="*/ 217408 h 428625"/>
                  <a:gd name="connsiteX41" fmla="*/ 94536 w 428625"/>
                  <a:gd name="connsiteY41" fmla="*/ 212646 h 428625"/>
                  <a:gd name="connsiteX42" fmla="*/ 124063 w 428625"/>
                  <a:gd name="connsiteY42" fmla="*/ 212646 h 428625"/>
                  <a:gd name="connsiteX43" fmla="*/ 128826 w 428625"/>
                  <a:gd name="connsiteY43" fmla="*/ 217408 h 428625"/>
                  <a:gd name="connsiteX44" fmla="*/ 124063 w 428625"/>
                  <a:gd name="connsiteY44" fmla="*/ 222171 h 428625"/>
                  <a:gd name="connsiteX45" fmla="*/ 124063 w 428625"/>
                  <a:gd name="connsiteY45" fmla="*/ 222171 h 428625"/>
                  <a:gd name="connsiteX46" fmla="*/ 176451 w 428625"/>
                  <a:gd name="connsiteY46" fmla="*/ 222171 h 428625"/>
                  <a:gd name="connsiteX47" fmla="*/ 146923 w 428625"/>
                  <a:gd name="connsiteY47" fmla="*/ 222171 h 428625"/>
                  <a:gd name="connsiteX48" fmla="*/ 142161 w 428625"/>
                  <a:gd name="connsiteY48" fmla="*/ 217408 h 428625"/>
                  <a:gd name="connsiteX49" fmla="*/ 146923 w 428625"/>
                  <a:gd name="connsiteY49" fmla="*/ 212646 h 428625"/>
                  <a:gd name="connsiteX50" fmla="*/ 176451 w 428625"/>
                  <a:gd name="connsiteY50" fmla="*/ 212646 h 428625"/>
                  <a:gd name="connsiteX51" fmla="*/ 181213 w 428625"/>
                  <a:gd name="connsiteY51" fmla="*/ 217408 h 428625"/>
                  <a:gd name="connsiteX52" fmla="*/ 176451 w 428625"/>
                  <a:gd name="connsiteY52" fmla="*/ 222171 h 428625"/>
                  <a:gd name="connsiteX53" fmla="*/ 176451 w 428625"/>
                  <a:gd name="connsiteY53" fmla="*/ 222171 h 428625"/>
                  <a:gd name="connsiteX54" fmla="*/ 220266 w 428625"/>
                  <a:gd name="connsiteY54" fmla="*/ 392668 h 428625"/>
                  <a:gd name="connsiteX55" fmla="*/ 215503 w 428625"/>
                  <a:gd name="connsiteY55" fmla="*/ 397431 h 428625"/>
                  <a:gd name="connsiteX56" fmla="*/ 210741 w 428625"/>
                  <a:gd name="connsiteY56" fmla="*/ 392668 h 428625"/>
                  <a:gd name="connsiteX57" fmla="*/ 210741 w 428625"/>
                  <a:gd name="connsiteY57" fmla="*/ 363141 h 428625"/>
                  <a:gd name="connsiteX58" fmla="*/ 215503 w 428625"/>
                  <a:gd name="connsiteY58" fmla="*/ 358378 h 428625"/>
                  <a:gd name="connsiteX59" fmla="*/ 220266 w 428625"/>
                  <a:gd name="connsiteY59" fmla="*/ 363141 h 428625"/>
                  <a:gd name="connsiteX60" fmla="*/ 220266 w 428625"/>
                  <a:gd name="connsiteY60" fmla="*/ 392668 h 428625"/>
                  <a:gd name="connsiteX61" fmla="*/ 220266 w 428625"/>
                  <a:gd name="connsiteY61" fmla="*/ 392668 h 428625"/>
                  <a:gd name="connsiteX62" fmla="*/ 220266 w 428625"/>
                  <a:gd name="connsiteY62" fmla="*/ 392668 h 428625"/>
                  <a:gd name="connsiteX63" fmla="*/ 220266 w 428625"/>
                  <a:gd name="connsiteY63" fmla="*/ 339328 h 428625"/>
                  <a:gd name="connsiteX64" fmla="*/ 215503 w 428625"/>
                  <a:gd name="connsiteY64" fmla="*/ 344091 h 428625"/>
                  <a:gd name="connsiteX65" fmla="*/ 210741 w 428625"/>
                  <a:gd name="connsiteY65" fmla="*/ 339328 h 428625"/>
                  <a:gd name="connsiteX66" fmla="*/ 210741 w 428625"/>
                  <a:gd name="connsiteY66" fmla="*/ 309801 h 428625"/>
                  <a:gd name="connsiteX67" fmla="*/ 215503 w 428625"/>
                  <a:gd name="connsiteY67" fmla="*/ 305038 h 428625"/>
                  <a:gd name="connsiteX68" fmla="*/ 220266 w 428625"/>
                  <a:gd name="connsiteY68" fmla="*/ 309801 h 428625"/>
                  <a:gd name="connsiteX69" fmla="*/ 220266 w 428625"/>
                  <a:gd name="connsiteY69" fmla="*/ 339328 h 428625"/>
                  <a:gd name="connsiteX70" fmla="*/ 220266 w 428625"/>
                  <a:gd name="connsiteY70" fmla="*/ 339328 h 428625"/>
                  <a:gd name="connsiteX71" fmla="*/ 220266 w 428625"/>
                  <a:gd name="connsiteY71" fmla="*/ 339328 h 428625"/>
                  <a:gd name="connsiteX72" fmla="*/ 220266 w 428625"/>
                  <a:gd name="connsiteY72" fmla="*/ 285988 h 428625"/>
                  <a:gd name="connsiteX73" fmla="*/ 215503 w 428625"/>
                  <a:gd name="connsiteY73" fmla="*/ 290751 h 428625"/>
                  <a:gd name="connsiteX74" fmla="*/ 210741 w 428625"/>
                  <a:gd name="connsiteY74" fmla="*/ 285988 h 428625"/>
                  <a:gd name="connsiteX75" fmla="*/ 210741 w 428625"/>
                  <a:gd name="connsiteY75" fmla="*/ 256461 h 428625"/>
                  <a:gd name="connsiteX76" fmla="*/ 215503 w 428625"/>
                  <a:gd name="connsiteY76" fmla="*/ 251698 h 428625"/>
                  <a:gd name="connsiteX77" fmla="*/ 220266 w 428625"/>
                  <a:gd name="connsiteY77" fmla="*/ 256461 h 428625"/>
                  <a:gd name="connsiteX78" fmla="*/ 220266 w 428625"/>
                  <a:gd name="connsiteY78" fmla="*/ 285988 h 428625"/>
                  <a:gd name="connsiteX79" fmla="*/ 220266 w 428625"/>
                  <a:gd name="connsiteY79" fmla="*/ 285988 h 428625"/>
                  <a:gd name="connsiteX80" fmla="*/ 220266 w 428625"/>
                  <a:gd name="connsiteY80" fmla="*/ 285988 h 428625"/>
                  <a:gd name="connsiteX81" fmla="*/ 220266 w 428625"/>
                  <a:gd name="connsiteY81" fmla="*/ 232648 h 428625"/>
                  <a:gd name="connsiteX82" fmla="*/ 215503 w 428625"/>
                  <a:gd name="connsiteY82" fmla="*/ 237411 h 428625"/>
                  <a:gd name="connsiteX83" fmla="*/ 210741 w 428625"/>
                  <a:gd name="connsiteY83" fmla="*/ 232648 h 428625"/>
                  <a:gd name="connsiteX84" fmla="*/ 210741 w 428625"/>
                  <a:gd name="connsiteY84" fmla="*/ 203121 h 428625"/>
                  <a:gd name="connsiteX85" fmla="*/ 215503 w 428625"/>
                  <a:gd name="connsiteY85" fmla="*/ 198358 h 428625"/>
                  <a:gd name="connsiteX86" fmla="*/ 220266 w 428625"/>
                  <a:gd name="connsiteY86" fmla="*/ 203121 h 428625"/>
                  <a:gd name="connsiteX87" fmla="*/ 220266 w 428625"/>
                  <a:gd name="connsiteY87" fmla="*/ 232648 h 428625"/>
                  <a:gd name="connsiteX88" fmla="*/ 220266 w 428625"/>
                  <a:gd name="connsiteY88" fmla="*/ 232648 h 428625"/>
                  <a:gd name="connsiteX89" fmla="*/ 220266 w 428625"/>
                  <a:gd name="connsiteY89" fmla="*/ 232648 h 428625"/>
                  <a:gd name="connsiteX90" fmla="*/ 220266 w 428625"/>
                  <a:gd name="connsiteY90" fmla="*/ 177403 h 428625"/>
                  <a:gd name="connsiteX91" fmla="*/ 215503 w 428625"/>
                  <a:gd name="connsiteY91" fmla="*/ 182166 h 428625"/>
                  <a:gd name="connsiteX92" fmla="*/ 210741 w 428625"/>
                  <a:gd name="connsiteY92" fmla="*/ 177403 h 428625"/>
                  <a:gd name="connsiteX93" fmla="*/ 210741 w 428625"/>
                  <a:gd name="connsiteY93" fmla="*/ 147876 h 428625"/>
                  <a:gd name="connsiteX94" fmla="*/ 215503 w 428625"/>
                  <a:gd name="connsiteY94" fmla="*/ 143113 h 428625"/>
                  <a:gd name="connsiteX95" fmla="*/ 220266 w 428625"/>
                  <a:gd name="connsiteY95" fmla="*/ 147876 h 428625"/>
                  <a:gd name="connsiteX96" fmla="*/ 220266 w 428625"/>
                  <a:gd name="connsiteY96" fmla="*/ 177403 h 428625"/>
                  <a:gd name="connsiteX97" fmla="*/ 220266 w 428625"/>
                  <a:gd name="connsiteY97" fmla="*/ 177403 h 428625"/>
                  <a:gd name="connsiteX98" fmla="*/ 220266 w 428625"/>
                  <a:gd name="connsiteY98" fmla="*/ 177403 h 428625"/>
                  <a:gd name="connsiteX99" fmla="*/ 220266 w 428625"/>
                  <a:gd name="connsiteY99" fmla="*/ 124063 h 428625"/>
                  <a:gd name="connsiteX100" fmla="*/ 215503 w 428625"/>
                  <a:gd name="connsiteY100" fmla="*/ 128826 h 428625"/>
                  <a:gd name="connsiteX101" fmla="*/ 210741 w 428625"/>
                  <a:gd name="connsiteY101" fmla="*/ 124063 h 428625"/>
                  <a:gd name="connsiteX102" fmla="*/ 210741 w 428625"/>
                  <a:gd name="connsiteY102" fmla="*/ 94536 h 428625"/>
                  <a:gd name="connsiteX103" fmla="*/ 215503 w 428625"/>
                  <a:gd name="connsiteY103" fmla="*/ 89773 h 428625"/>
                  <a:gd name="connsiteX104" fmla="*/ 220266 w 428625"/>
                  <a:gd name="connsiteY104" fmla="*/ 94536 h 428625"/>
                  <a:gd name="connsiteX105" fmla="*/ 220266 w 428625"/>
                  <a:gd name="connsiteY105" fmla="*/ 124063 h 428625"/>
                  <a:gd name="connsiteX106" fmla="*/ 220266 w 428625"/>
                  <a:gd name="connsiteY106" fmla="*/ 124063 h 428625"/>
                  <a:gd name="connsiteX107" fmla="*/ 220266 w 428625"/>
                  <a:gd name="connsiteY107" fmla="*/ 124063 h 428625"/>
                  <a:gd name="connsiteX108" fmla="*/ 220266 w 428625"/>
                  <a:gd name="connsiteY108" fmla="*/ 70723 h 428625"/>
                  <a:gd name="connsiteX109" fmla="*/ 215503 w 428625"/>
                  <a:gd name="connsiteY109" fmla="*/ 75486 h 428625"/>
                  <a:gd name="connsiteX110" fmla="*/ 210741 w 428625"/>
                  <a:gd name="connsiteY110" fmla="*/ 70723 h 428625"/>
                  <a:gd name="connsiteX111" fmla="*/ 210741 w 428625"/>
                  <a:gd name="connsiteY111" fmla="*/ 41196 h 428625"/>
                  <a:gd name="connsiteX112" fmla="*/ 215503 w 428625"/>
                  <a:gd name="connsiteY112" fmla="*/ 36433 h 428625"/>
                  <a:gd name="connsiteX113" fmla="*/ 220266 w 428625"/>
                  <a:gd name="connsiteY113" fmla="*/ 41196 h 428625"/>
                  <a:gd name="connsiteX114" fmla="*/ 220266 w 428625"/>
                  <a:gd name="connsiteY114" fmla="*/ 70723 h 428625"/>
                  <a:gd name="connsiteX115" fmla="*/ 220266 w 428625"/>
                  <a:gd name="connsiteY115" fmla="*/ 70723 h 428625"/>
                  <a:gd name="connsiteX116" fmla="*/ 220266 w 428625"/>
                  <a:gd name="connsiteY116" fmla="*/ 70723 h 428625"/>
                  <a:gd name="connsiteX117" fmla="*/ 284083 w 428625"/>
                  <a:gd name="connsiteY117" fmla="*/ 222171 h 428625"/>
                  <a:gd name="connsiteX118" fmla="*/ 254556 w 428625"/>
                  <a:gd name="connsiteY118" fmla="*/ 222171 h 428625"/>
                  <a:gd name="connsiteX119" fmla="*/ 249793 w 428625"/>
                  <a:gd name="connsiteY119" fmla="*/ 217408 h 428625"/>
                  <a:gd name="connsiteX120" fmla="*/ 254556 w 428625"/>
                  <a:gd name="connsiteY120" fmla="*/ 212646 h 428625"/>
                  <a:gd name="connsiteX121" fmla="*/ 284083 w 428625"/>
                  <a:gd name="connsiteY121" fmla="*/ 212646 h 428625"/>
                  <a:gd name="connsiteX122" fmla="*/ 288846 w 428625"/>
                  <a:gd name="connsiteY122" fmla="*/ 217408 h 428625"/>
                  <a:gd name="connsiteX123" fmla="*/ 284083 w 428625"/>
                  <a:gd name="connsiteY123" fmla="*/ 222171 h 428625"/>
                  <a:gd name="connsiteX124" fmla="*/ 284083 w 428625"/>
                  <a:gd name="connsiteY124" fmla="*/ 222171 h 428625"/>
                  <a:gd name="connsiteX125" fmla="*/ 336471 w 428625"/>
                  <a:gd name="connsiteY125" fmla="*/ 222171 h 428625"/>
                  <a:gd name="connsiteX126" fmla="*/ 306943 w 428625"/>
                  <a:gd name="connsiteY126" fmla="*/ 222171 h 428625"/>
                  <a:gd name="connsiteX127" fmla="*/ 302181 w 428625"/>
                  <a:gd name="connsiteY127" fmla="*/ 217408 h 428625"/>
                  <a:gd name="connsiteX128" fmla="*/ 306943 w 428625"/>
                  <a:gd name="connsiteY128" fmla="*/ 212646 h 428625"/>
                  <a:gd name="connsiteX129" fmla="*/ 336471 w 428625"/>
                  <a:gd name="connsiteY129" fmla="*/ 212646 h 428625"/>
                  <a:gd name="connsiteX130" fmla="*/ 341233 w 428625"/>
                  <a:gd name="connsiteY130" fmla="*/ 217408 h 428625"/>
                  <a:gd name="connsiteX131" fmla="*/ 336471 w 428625"/>
                  <a:gd name="connsiteY131" fmla="*/ 222171 h 428625"/>
                  <a:gd name="connsiteX132" fmla="*/ 336471 w 428625"/>
                  <a:gd name="connsiteY132" fmla="*/ 222171 h 428625"/>
                  <a:gd name="connsiteX133" fmla="*/ 389811 w 428625"/>
                  <a:gd name="connsiteY133" fmla="*/ 222171 h 428625"/>
                  <a:gd name="connsiteX134" fmla="*/ 360283 w 428625"/>
                  <a:gd name="connsiteY134" fmla="*/ 222171 h 428625"/>
                  <a:gd name="connsiteX135" fmla="*/ 355521 w 428625"/>
                  <a:gd name="connsiteY135" fmla="*/ 217408 h 428625"/>
                  <a:gd name="connsiteX136" fmla="*/ 360283 w 428625"/>
                  <a:gd name="connsiteY136" fmla="*/ 212646 h 428625"/>
                  <a:gd name="connsiteX137" fmla="*/ 389811 w 428625"/>
                  <a:gd name="connsiteY137" fmla="*/ 212646 h 428625"/>
                  <a:gd name="connsiteX138" fmla="*/ 394573 w 428625"/>
                  <a:gd name="connsiteY138" fmla="*/ 217408 h 428625"/>
                  <a:gd name="connsiteX139" fmla="*/ 389811 w 428625"/>
                  <a:gd name="connsiteY139" fmla="*/ 222171 h 428625"/>
                  <a:gd name="connsiteX140" fmla="*/ 389811 w 428625"/>
                  <a:gd name="connsiteY140" fmla="*/ 222171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428625" h="428625">
                    <a:moveTo>
                      <a:pt x="422196" y="214551"/>
                    </a:moveTo>
                    <a:cubicBezTo>
                      <a:pt x="398383" y="187881"/>
                      <a:pt x="398383" y="187881"/>
                      <a:pt x="398383" y="187881"/>
                    </a:cubicBezTo>
                    <a:cubicBezTo>
                      <a:pt x="398383" y="186928"/>
                      <a:pt x="397431" y="186928"/>
                      <a:pt x="396478" y="186928"/>
                    </a:cubicBezTo>
                    <a:cubicBezTo>
                      <a:pt x="245031" y="186928"/>
                      <a:pt x="245031" y="186928"/>
                      <a:pt x="245031" y="186928"/>
                    </a:cubicBezTo>
                    <a:cubicBezTo>
                      <a:pt x="245031" y="33576"/>
                      <a:pt x="245031" y="33576"/>
                      <a:pt x="245031" y="33576"/>
                    </a:cubicBezTo>
                    <a:cubicBezTo>
                      <a:pt x="245031" y="32623"/>
                      <a:pt x="245031" y="31671"/>
                      <a:pt x="244078" y="31671"/>
                    </a:cubicBezTo>
                    <a:cubicBezTo>
                      <a:pt x="217408" y="7858"/>
                      <a:pt x="217408" y="7858"/>
                      <a:pt x="217408" y="7858"/>
                    </a:cubicBezTo>
                    <a:cubicBezTo>
                      <a:pt x="216456" y="6906"/>
                      <a:pt x="214551" y="6906"/>
                      <a:pt x="212646" y="7858"/>
                    </a:cubicBezTo>
                    <a:cubicBezTo>
                      <a:pt x="185976" y="31671"/>
                      <a:pt x="185976" y="31671"/>
                      <a:pt x="185976" y="31671"/>
                    </a:cubicBezTo>
                    <a:cubicBezTo>
                      <a:pt x="185023" y="31671"/>
                      <a:pt x="185023" y="32623"/>
                      <a:pt x="185023" y="33576"/>
                    </a:cubicBezTo>
                    <a:cubicBezTo>
                      <a:pt x="185023" y="186928"/>
                      <a:pt x="185023" y="186928"/>
                      <a:pt x="185023" y="186928"/>
                    </a:cubicBezTo>
                    <a:cubicBezTo>
                      <a:pt x="33576" y="186928"/>
                      <a:pt x="33576" y="186928"/>
                      <a:pt x="33576" y="186928"/>
                    </a:cubicBezTo>
                    <a:cubicBezTo>
                      <a:pt x="32623" y="186928"/>
                      <a:pt x="31671" y="186928"/>
                      <a:pt x="31671" y="187881"/>
                    </a:cubicBezTo>
                    <a:cubicBezTo>
                      <a:pt x="7858" y="214551"/>
                      <a:pt x="7858" y="214551"/>
                      <a:pt x="7858" y="214551"/>
                    </a:cubicBezTo>
                    <a:cubicBezTo>
                      <a:pt x="6906" y="215503"/>
                      <a:pt x="6906" y="217408"/>
                      <a:pt x="7858" y="219313"/>
                    </a:cubicBezTo>
                    <a:cubicBezTo>
                      <a:pt x="31671" y="245983"/>
                      <a:pt x="31671" y="245983"/>
                      <a:pt x="31671" y="245983"/>
                    </a:cubicBezTo>
                    <a:cubicBezTo>
                      <a:pt x="31671" y="246936"/>
                      <a:pt x="32623" y="246936"/>
                      <a:pt x="33576" y="246936"/>
                    </a:cubicBezTo>
                    <a:cubicBezTo>
                      <a:pt x="185023" y="246936"/>
                      <a:pt x="185023" y="246936"/>
                      <a:pt x="185023" y="246936"/>
                    </a:cubicBezTo>
                    <a:cubicBezTo>
                      <a:pt x="185023" y="400288"/>
                      <a:pt x="185023" y="400288"/>
                      <a:pt x="185023" y="400288"/>
                    </a:cubicBezTo>
                    <a:cubicBezTo>
                      <a:pt x="185023" y="401241"/>
                      <a:pt x="185023" y="402193"/>
                      <a:pt x="185976" y="402193"/>
                    </a:cubicBezTo>
                    <a:cubicBezTo>
                      <a:pt x="212646" y="426006"/>
                      <a:pt x="212646" y="426006"/>
                      <a:pt x="212646" y="426006"/>
                    </a:cubicBezTo>
                    <a:cubicBezTo>
                      <a:pt x="213598" y="426958"/>
                      <a:pt x="215503" y="426958"/>
                      <a:pt x="217408" y="426006"/>
                    </a:cubicBezTo>
                    <a:cubicBezTo>
                      <a:pt x="244078" y="402193"/>
                      <a:pt x="244078" y="402193"/>
                      <a:pt x="244078" y="402193"/>
                    </a:cubicBezTo>
                    <a:cubicBezTo>
                      <a:pt x="245031" y="402193"/>
                      <a:pt x="245031" y="401241"/>
                      <a:pt x="245031" y="400288"/>
                    </a:cubicBezTo>
                    <a:cubicBezTo>
                      <a:pt x="245031" y="246936"/>
                      <a:pt x="245031" y="246936"/>
                      <a:pt x="245031" y="246936"/>
                    </a:cubicBezTo>
                    <a:cubicBezTo>
                      <a:pt x="396478" y="246936"/>
                      <a:pt x="396478" y="246936"/>
                      <a:pt x="396478" y="246936"/>
                    </a:cubicBezTo>
                    <a:cubicBezTo>
                      <a:pt x="397431" y="246936"/>
                      <a:pt x="398383" y="246936"/>
                      <a:pt x="398383" y="245983"/>
                    </a:cubicBezTo>
                    <a:cubicBezTo>
                      <a:pt x="422196" y="219313"/>
                      <a:pt x="422196" y="219313"/>
                      <a:pt x="422196" y="219313"/>
                    </a:cubicBezTo>
                    <a:cubicBezTo>
                      <a:pt x="424101" y="217408"/>
                      <a:pt x="424101" y="215503"/>
                      <a:pt x="422196" y="214551"/>
                    </a:cubicBezTo>
                    <a:lnTo>
                      <a:pt x="422196" y="214551"/>
                    </a:lnTo>
                    <a:close/>
                    <a:moveTo>
                      <a:pt x="70723" y="222171"/>
                    </a:moveTo>
                    <a:cubicBezTo>
                      <a:pt x="41196" y="222171"/>
                      <a:pt x="41196" y="222171"/>
                      <a:pt x="41196" y="222171"/>
                    </a:cubicBezTo>
                    <a:cubicBezTo>
                      <a:pt x="38338" y="222171"/>
                      <a:pt x="36433" y="220266"/>
                      <a:pt x="36433" y="217408"/>
                    </a:cubicBezTo>
                    <a:cubicBezTo>
                      <a:pt x="36433" y="214551"/>
                      <a:pt x="38338" y="212646"/>
                      <a:pt x="41196" y="212646"/>
                    </a:cubicBezTo>
                    <a:cubicBezTo>
                      <a:pt x="70723" y="212646"/>
                      <a:pt x="70723" y="212646"/>
                      <a:pt x="70723" y="212646"/>
                    </a:cubicBezTo>
                    <a:cubicBezTo>
                      <a:pt x="73581" y="212646"/>
                      <a:pt x="75486" y="214551"/>
                      <a:pt x="75486" y="217408"/>
                    </a:cubicBezTo>
                    <a:cubicBezTo>
                      <a:pt x="76438" y="219313"/>
                      <a:pt x="73581" y="222171"/>
                      <a:pt x="70723" y="222171"/>
                    </a:cubicBezTo>
                    <a:lnTo>
                      <a:pt x="70723" y="222171"/>
                    </a:lnTo>
                    <a:close/>
                    <a:moveTo>
                      <a:pt x="124063" y="222171"/>
                    </a:moveTo>
                    <a:cubicBezTo>
                      <a:pt x="94536" y="222171"/>
                      <a:pt x="94536" y="222171"/>
                      <a:pt x="94536" y="222171"/>
                    </a:cubicBezTo>
                    <a:cubicBezTo>
                      <a:pt x="91678" y="222171"/>
                      <a:pt x="89773" y="220266"/>
                      <a:pt x="89773" y="217408"/>
                    </a:cubicBezTo>
                    <a:cubicBezTo>
                      <a:pt x="89773" y="214551"/>
                      <a:pt x="91678" y="212646"/>
                      <a:pt x="94536" y="212646"/>
                    </a:cubicBezTo>
                    <a:cubicBezTo>
                      <a:pt x="124063" y="212646"/>
                      <a:pt x="124063" y="212646"/>
                      <a:pt x="124063" y="212646"/>
                    </a:cubicBezTo>
                    <a:cubicBezTo>
                      <a:pt x="126921" y="212646"/>
                      <a:pt x="128826" y="214551"/>
                      <a:pt x="128826" y="217408"/>
                    </a:cubicBezTo>
                    <a:cubicBezTo>
                      <a:pt x="128826" y="219313"/>
                      <a:pt x="126921" y="222171"/>
                      <a:pt x="124063" y="222171"/>
                    </a:cubicBezTo>
                    <a:lnTo>
                      <a:pt x="124063" y="222171"/>
                    </a:lnTo>
                    <a:close/>
                    <a:moveTo>
                      <a:pt x="176451" y="222171"/>
                    </a:moveTo>
                    <a:cubicBezTo>
                      <a:pt x="146923" y="222171"/>
                      <a:pt x="146923" y="222171"/>
                      <a:pt x="146923" y="222171"/>
                    </a:cubicBezTo>
                    <a:cubicBezTo>
                      <a:pt x="144066" y="222171"/>
                      <a:pt x="142161" y="220266"/>
                      <a:pt x="142161" y="217408"/>
                    </a:cubicBezTo>
                    <a:cubicBezTo>
                      <a:pt x="142161" y="214551"/>
                      <a:pt x="144066" y="212646"/>
                      <a:pt x="146923" y="212646"/>
                    </a:cubicBezTo>
                    <a:cubicBezTo>
                      <a:pt x="176451" y="212646"/>
                      <a:pt x="176451" y="212646"/>
                      <a:pt x="176451" y="212646"/>
                    </a:cubicBezTo>
                    <a:cubicBezTo>
                      <a:pt x="179308" y="212646"/>
                      <a:pt x="181213" y="214551"/>
                      <a:pt x="181213" y="217408"/>
                    </a:cubicBezTo>
                    <a:cubicBezTo>
                      <a:pt x="181213" y="219313"/>
                      <a:pt x="179308" y="222171"/>
                      <a:pt x="176451" y="222171"/>
                    </a:cubicBezTo>
                    <a:lnTo>
                      <a:pt x="176451" y="222171"/>
                    </a:lnTo>
                    <a:close/>
                    <a:moveTo>
                      <a:pt x="220266" y="392668"/>
                    </a:moveTo>
                    <a:cubicBezTo>
                      <a:pt x="220266" y="395526"/>
                      <a:pt x="218361" y="397431"/>
                      <a:pt x="215503" y="397431"/>
                    </a:cubicBezTo>
                    <a:cubicBezTo>
                      <a:pt x="212646" y="397431"/>
                      <a:pt x="210741" y="395526"/>
                      <a:pt x="210741" y="392668"/>
                    </a:cubicBezTo>
                    <a:cubicBezTo>
                      <a:pt x="210741" y="363141"/>
                      <a:pt x="210741" y="363141"/>
                      <a:pt x="210741" y="363141"/>
                    </a:cubicBezTo>
                    <a:cubicBezTo>
                      <a:pt x="210741" y="360283"/>
                      <a:pt x="212646" y="358378"/>
                      <a:pt x="215503" y="358378"/>
                    </a:cubicBezTo>
                    <a:cubicBezTo>
                      <a:pt x="218361" y="358378"/>
                      <a:pt x="220266" y="360283"/>
                      <a:pt x="220266" y="363141"/>
                    </a:cubicBezTo>
                    <a:lnTo>
                      <a:pt x="220266" y="392668"/>
                    </a:lnTo>
                    <a:lnTo>
                      <a:pt x="220266" y="392668"/>
                    </a:lnTo>
                    <a:lnTo>
                      <a:pt x="220266" y="392668"/>
                    </a:lnTo>
                    <a:close/>
                    <a:moveTo>
                      <a:pt x="220266" y="339328"/>
                    </a:moveTo>
                    <a:cubicBezTo>
                      <a:pt x="220266" y="342186"/>
                      <a:pt x="218361" y="344091"/>
                      <a:pt x="215503" y="344091"/>
                    </a:cubicBezTo>
                    <a:cubicBezTo>
                      <a:pt x="212646" y="344091"/>
                      <a:pt x="210741" y="342186"/>
                      <a:pt x="210741" y="339328"/>
                    </a:cubicBezTo>
                    <a:cubicBezTo>
                      <a:pt x="210741" y="309801"/>
                      <a:pt x="210741" y="309801"/>
                      <a:pt x="210741" y="309801"/>
                    </a:cubicBezTo>
                    <a:cubicBezTo>
                      <a:pt x="210741" y="306943"/>
                      <a:pt x="212646" y="305038"/>
                      <a:pt x="215503" y="305038"/>
                    </a:cubicBezTo>
                    <a:cubicBezTo>
                      <a:pt x="218361" y="305038"/>
                      <a:pt x="220266" y="306943"/>
                      <a:pt x="220266" y="309801"/>
                    </a:cubicBezTo>
                    <a:lnTo>
                      <a:pt x="220266" y="339328"/>
                    </a:lnTo>
                    <a:lnTo>
                      <a:pt x="220266" y="339328"/>
                    </a:lnTo>
                    <a:lnTo>
                      <a:pt x="220266" y="339328"/>
                    </a:lnTo>
                    <a:close/>
                    <a:moveTo>
                      <a:pt x="220266" y="285988"/>
                    </a:moveTo>
                    <a:cubicBezTo>
                      <a:pt x="220266" y="288846"/>
                      <a:pt x="218361" y="290751"/>
                      <a:pt x="215503" y="290751"/>
                    </a:cubicBezTo>
                    <a:cubicBezTo>
                      <a:pt x="212646" y="290751"/>
                      <a:pt x="210741" y="288846"/>
                      <a:pt x="210741" y="285988"/>
                    </a:cubicBezTo>
                    <a:cubicBezTo>
                      <a:pt x="210741" y="256461"/>
                      <a:pt x="210741" y="256461"/>
                      <a:pt x="210741" y="256461"/>
                    </a:cubicBezTo>
                    <a:cubicBezTo>
                      <a:pt x="210741" y="253603"/>
                      <a:pt x="212646" y="251698"/>
                      <a:pt x="215503" y="251698"/>
                    </a:cubicBezTo>
                    <a:cubicBezTo>
                      <a:pt x="218361" y="251698"/>
                      <a:pt x="220266" y="253603"/>
                      <a:pt x="220266" y="256461"/>
                    </a:cubicBezTo>
                    <a:lnTo>
                      <a:pt x="220266" y="285988"/>
                    </a:lnTo>
                    <a:lnTo>
                      <a:pt x="220266" y="285988"/>
                    </a:lnTo>
                    <a:lnTo>
                      <a:pt x="220266" y="285988"/>
                    </a:lnTo>
                    <a:close/>
                    <a:moveTo>
                      <a:pt x="220266" y="232648"/>
                    </a:moveTo>
                    <a:cubicBezTo>
                      <a:pt x="220266" y="235506"/>
                      <a:pt x="218361" y="237411"/>
                      <a:pt x="215503" y="237411"/>
                    </a:cubicBezTo>
                    <a:cubicBezTo>
                      <a:pt x="212646" y="237411"/>
                      <a:pt x="210741" y="235506"/>
                      <a:pt x="210741" y="232648"/>
                    </a:cubicBezTo>
                    <a:cubicBezTo>
                      <a:pt x="210741" y="203121"/>
                      <a:pt x="210741" y="203121"/>
                      <a:pt x="210741" y="203121"/>
                    </a:cubicBezTo>
                    <a:cubicBezTo>
                      <a:pt x="210741" y="200263"/>
                      <a:pt x="212646" y="198358"/>
                      <a:pt x="215503" y="198358"/>
                    </a:cubicBezTo>
                    <a:cubicBezTo>
                      <a:pt x="218361" y="198358"/>
                      <a:pt x="220266" y="200263"/>
                      <a:pt x="220266" y="203121"/>
                    </a:cubicBezTo>
                    <a:lnTo>
                      <a:pt x="220266" y="232648"/>
                    </a:lnTo>
                    <a:lnTo>
                      <a:pt x="220266" y="232648"/>
                    </a:lnTo>
                    <a:lnTo>
                      <a:pt x="220266" y="232648"/>
                    </a:lnTo>
                    <a:close/>
                    <a:moveTo>
                      <a:pt x="220266" y="177403"/>
                    </a:moveTo>
                    <a:cubicBezTo>
                      <a:pt x="220266" y="180261"/>
                      <a:pt x="218361" y="182166"/>
                      <a:pt x="215503" y="182166"/>
                    </a:cubicBezTo>
                    <a:cubicBezTo>
                      <a:pt x="212646" y="182166"/>
                      <a:pt x="210741" y="180261"/>
                      <a:pt x="210741" y="177403"/>
                    </a:cubicBezTo>
                    <a:cubicBezTo>
                      <a:pt x="210741" y="147876"/>
                      <a:pt x="210741" y="147876"/>
                      <a:pt x="210741" y="147876"/>
                    </a:cubicBezTo>
                    <a:cubicBezTo>
                      <a:pt x="210741" y="145018"/>
                      <a:pt x="212646" y="143113"/>
                      <a:pt x="215503" y="143113"/>
                    </a:cubicBezTo>
                    <a:cubicBezTo>
                      <a:pt x="218361" y="143113"/>
                      <a:pt x="220266" y="145018"/>
                      <a:pt x="220266" y="147876"/>
                    </a:cubicBezTo>
                    <a:lnTo>
                      <a:pt x="220266" y="177403"/>
                    </a:lnTo>
                    <a:lnTo>
                      <a:pt x="220266" y="177403"/>
                    </a:lnTo>
                    <a:lnTo>
                      <a:pt x="220266" y="177403"/>
                    </a:lnTo>
                    <a:close/>
                    <a:moveTo>
                      <a:pt x="220266" y="124063"/>
                    </a:moveTo>
                    <a:cubicBezTo>
                      <a:pt x="220266" y="126921"/>
                      <a:pt x="218361" y="128826"/>
                      <a:pt x="215503" y="128826"/>
                    </a:cubicBezTo>
                    <a:cubicBezTo>
                      <a:pt x="212646" y="128826"/>
                      <a:pt x="210741" y="126921"/>
                      <a:pt x="210741" y="124063"/>
                    </a:cubicBezTo>
                    <a:cubicBezTo>
                      <a:pt x="210741" y="94536"/>
                      <a:pt x="210741" y="94536"/>
                      <a:pt x="210741" y="94536"/>
                    </a:cubicBezTo>
                    <a:cubicBezTo>
                      <a:pt x="210741" y="91678"/>
                      <a:pt x="212646" y="89773"/>
                      <a:pt x="215503" y="89773"/>
                    </a:cubicBezTo>
                    <a:cubicBezTo>
                      <a:pt x="218361" y="89773"/>
                      <a:pt x="220266" y="91678"/>
                      <a:pt x="220266" y="94536"/>
                    </a:cubicBezTo>
                    <a:lnTo>
                      <a:pt x="220266" y="124063"/>
                    </a:lnTo>
                    <a:lnTo>
                      <a:pt x="220266" y="124063"/>
                    </a:lnTo>
                    <a:lnTo>
                      <a:pt x="220266" y="124063"/>
                    </a:lnTo>
                    <a:close/>
                    <a:moveTo>
                      <a:pt x="220266" y="70723"/>
                    </a:moveTo>
                    <a:cubicBezTo>
                      <a:pt x="220266" y="73581"/>
                      <a:pt x="218361" y="75486"/>
                      <a:pt x="215503" y="75486"/>
                    </a:cubicBezTo>
                    <a:cubicBezTo>
                      <a:pt x="212646" y="75486"/>
                      <a:pt x="210741" y="73581"/>
                      <a:pt x="210741" y="70723"/>
                    </a:cubicBezTo>
                    <a:cubicBezTo>
                      <a:pt x="210741" y="41196"/>
                      <a:pt x="210741" y="41196"/>
                      <a:pt x="210741" y="41196"/>
                    </a:cubicBezTo>
                    <a:cubicBezTo>
                      <a:pt x="210741" y="38338"/>
                      <a:pt x="212646" y="36433"/>
                      <a:pt x="215503" y="36433"/>
                    </a:cubicBezTo>
                    <a:cubicBezTo>
                      <a:pt x="218361" y="36433"/>
                      <a:pt x="220266" y="38338"/>
                      <a:pt x="220266" y="41196"/>
                    </a:cubicBezTo>
                    <a:lnTo>
                      <a:pt x="220266" y="70723"/>
                    </a:lnTo>
                    <a:lnTo>
                      <a:pt x="220266" y="70723"/>
                    </a:lnTo>
                    <a:lnTo>
                      <a:pt x="220266" y="70723"/>
                    </a:lnTo>
                    <a:close/>
                    <a:moveTo>
                      <a:pt x="284083" y="222171"/>
                    </a:moveTo>
                    <a:cubicBezTo>
                      <a:pt x="254556" y="222171"/>
                      <a:pt x="254556" y="222171"/>
                      <a:pt x="254556" y="222171"/>
                    </a:cubicBezTo>
                    <a:cubicBezTo>
                      <a:pt x="251698" y="222171"/>
                      <a:pt x="249793" y="220266"/>
                      <a:pt x="249793" y="217408"/>
                    </a:cubicBezTo>
                    <a:cubicBezTo>
                      <a:pt x="249793" y="214551"/>
                      <a:pt x="251698" y="212646"/>
                      <a:pt x="254556" y="212646"/>
                    </a:cubicBezTo>
                    <a:cubicBezTo>
                      <a:pt x="284083" y="212646"/>
                      <a:pt x="284083" y="212646"/>
                      <a:pt x="284083" y="212646"/>
                    </a:cubicBezTo>
                    <a:cubicBezTo>
                      <a:pt x="286941" y="212646"/>
                      <a:pt x="288846" y="214551"/>
                      <a:pt x="288846" y="217408"/>
                    </a:cubicBezTo>
                    <a:cubicBezTo>
                      <a:pt x="288846" y="219313"/>
                      <a:pt x="286941" y="222171"/>
                      <a:pt x="284083" y="222171"/>
                    </a:cubicBezTo>
                    <a:lnTo>
                      <a:pt x="284083" y="222171"/>
                    </a:lnTo>
                    <a:close/>
                    <a:moveTo>
                      <a:pt x="336471" y="222171"/>
                    </a:moveTo>
                    <a:cubicBezTo>
                      <a:pt x="306943" y="222171"/>
                      <a:pt x="306943" y="222171"/>
                      <a:pt x="306943" y="222171"/>
                    </a:cubicBezTo>
                    <a:cubicBezTo>
                      <a:pt x="304086" y="222171"/>
                      <a:pt x="302181" y="220266"/>
                      <a:pt x="302181" y="217408"/>
                    </a:cubicBezTo>
                    <a:cubicBezTo>
                      <a:pt x="302181" y="214551"/>
                      <a:pt x="304086" y="212646"/>
                      <a:pt x="306943" y="212646"/>
                    </a:cubicBezTo>
                    <a:cubicBezTo>
                      <a:pt x="336471" y="212646"/>
                      <a:pt x="336471" y="212646"/>
                      <a:pt x="336471" y="212646"/>
                    </a:cubicBezTo>
                    <a:cubicBezTo>
                      <a:pt x="339328" y="212646"/>
                      <a:pt x="341233" y="214551"/>
                      <a:pt x="341233" y="217408"/>
                    </a:cubicBezTo>
                    <a:cubicBezTo>
                      <a:pt x="342186" y="219313"/>
                      <a:pt x="339328" y="222171"/>
                      <a:pt x="336471" y="222171"/>
                    </a:cubicBezTo>
                    <a:lnTo>
                      <a:pt x="336471" y="222171"/>
                    </a:lnTo>
                    <a:close/>
                    <a:moveTo>
                      <a:pt x="389811" y="222171"/>
                    </a:moveTo>
                    <a:cubicBezTo>
                      <a:pt x="360283" y="222171"/>
                      <a:pt x="360283" y="222171"/>
                      <a:pt x="360283" y="222171"/>
                    </a:cubicBezTo>
                    <a:cubicBezTo>
                      <a:pt x="357426" y="222171"/>
                      <a:pt x="355521" y="220266"/>
                      <a:pt x="355521" y="217408"/>
                    </a:cubicBezTo>
                    <a:cubicBezTo>
                      <a:pt x="355521" y="214551"/>
                      <a:pt x="357426" y="212646"/>
                      <a:pt x="360283" y="212646"/>
                    </a:cubicBezTo>
                    <a:cubicBezTo>
                      <a:pt x="389811" y="212646"/>
                      <a:pt x="389811" y="212646"/>
                      <a:pt x="389811" y="212646"/>
                    </a:cubicBezTo>
                    <a:cubicBezTo>
                      <a:pt x="392668" y="212646"/>
                      <a:pt x="394573" y="214551"/>
                      <a:pt x="394573" y="217408"/>
                    </a:cubicBezTo>
                    <a:cubicBezTo>
                      <a:pt x="394573" y="219313"/>
                      <a:pt x="392668" y="222171"/>
                      <a:pt x="389811" y="222171"/>
                    </a:cubicBezTo>
                    <a:lnTo>
                      <a:pt x="389811" y="222171"/>
                    </a:lnTo>
                    <a:close/>
                  </a:path>
                </a:pathLst>
              </a:custGeom>
              <a:solidFill>
                <a:srgbClr val="FFFFFF"/>
              </a:solid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76FA5BF4-D4A0-49C9-B646-094605404AE2}"/>
                  </a:ext>
                </a:extLst>
              </p:cNvPr>
              <p:cNvSpPr/>
              <p:nvPr/>
            </p:nvSpPr>
            <p:spPr>
              <a:xfrm>
                <a:off x="1163520" y="1187015"/>
                <a:ext cx="576596" cy="576597"/>
              </a:xfrm>
              <a:custGeom>
                <a:avLst/>
                <a:gdLst>
                  <a:gd name="connsiteX0" fmla="*/ 174784 w 266700"/>
                  <a:gd name="connsiteY0" fmla="*/ 174784 h 266700"/>
                  <a:gd name="connsiteX1" fmla="*/ 261461 w 266700"/>
                  <a:gd name="connsiteY1" fmla="*/ 174784 h 266700"/>
                  <a:gd name="connsiteX2" fmla="*/ 261461 w 266700"/>
                  <a:gd name="connsiteY2" fmla="*/ 185261 h 266700"/>
                  <a:gd name="connsiteX3" fmla="*/ 185261 w 266700"/>
                  <a:gd name="connsiteY3" fmla="*/ 185261 h 266700"/>
                  <a:gd name="connsiteX4" fmla="*/ 185261 w 266700"/>
                  <a:gd name="connsiteY4" fmla="*/ 263366 h 266700"/>
                  <a:gd name="connsiteX5" fmla="*/ 174784 w 266700"/>
                  <a:gd name="connsiteY5" fmla="*/ 263366 h 266700"/>
                  <a:gd name="connsiteX6" fmla="*/ 174784 w 266700"/>
                  <a:gd name="connsiteY6" fmla="*/ 174784 h 266700"/>
                  <a:gd name="connsiteX7" fmla="*/ 174784 w 266700"/>
                  <a:gd name="connsiteY7" fmla="*/ 174784 h 266700"/>
                  <a:gd name="connsiteX8" fmla="*/ 174784 w 266700"/>
                  <a:gd name="connsiteY8" fmla="*/ 174784 h 266700"/>
                  <a:gd name="connsiteX9" fmla="*/ 184309 w 266700"/>
                  <a:gd name="connsiteY9" fmla="*/ 84296 h 266700"/>
                  <a:gd name="connsiteX10" fmla="*/ 184309 w 266700"/>
                  <a:gd name="connsiteY10" fmla="*/ 8096 h 266700"/>
                  <a:gd name="connsiteX11" fmla="*/ 173831 w 266700"/>
                  <a:gd name="connsiteY11" fmla="*/ 8096 h 266700"/>
                  <a:gd name="connsiteX12" fmla="*/ 173831 w 266700"/>
                  <a:gd name="connsiteY12" fmla="*/ 94774 h 266700"/>
                  <a:gd name="connsiteX13" fmla="*/ 260509 w 266700"/>
                  <a:gd name="connsiteY13" fmla="*/ 94774 h 266700"/>
                  <a:gd name="connsiteX14" fmla="*/ 260509 w 266700"/>
                  <a:gd name="connsiteY14" fmla="*/ 84296 h 266700"/>
                  <a:gd name="connsiteX15" fmla="*/ 184309 w 266700"/>
                  <a:gd name="connsiteY15" fmla="*/ 84296 h 266700"/>
                  <a:gd name="connsiteX16" fmla="*/ 184309 w 266700"/>
                  <a:gd name="connsiteY16" fmla="*/ 84296 h 266700"/>
                  <a:gd name="connsiteX17" fmla="*/ 184309 w 266700"/>
                  <a:gd name="connsiteY17" fmla="*/ 84296 h 266700"/>
                  <a:gd name="connsiteX18" fmla="*/ 7144 w 266700"/>
                  <a:gd name="connsiteY18" fmla="*/ 185261 h 266700"/>
                  <a:gd name="connsiteX19" fmla="*/ 84296 w 266700"/>
                  <a:gd name="connsiteY19" fmla="*/ 185261 h 266700"/>
                  <a:gd name="connsiteX20" fmla="*/ 84296 w 266700"/>
                  <a:gd name="connsiteY20" fmla="*/ 263366 h 266700"/>
                  <a:gd name="connsiteX21" fmla="*/ 93821 w 266700"/>
                  <a:gd name="connsiteY21" fmla="*/ 263366 h 266700"/>
                  <a:gd name="connsiteX22" fmla="*/ 93821 w 266700"/>
                  <a:gd name="connsiteY22" fmla="*/ 175736 h 266700"/>
                  <a:gd name="connsiteX23" fmla="*/ 7144 w 266700"/>
                  <a:gd name="connsiteY23" fmla="*/ 175736 h 266700"/>
                  <a:gd name="connsiteX24" fmla="*/ 7144 w 266700"/>
                  <a:gd name="connsiteY24" fmla="*/ 185261 h 266700"/>
                  <a:gd name="connsiteX25" fmla="*/ 7144 w 266700"/>
                  <a:gd name="connsiteY25" fmla="*/ 185261 h 266700"/>
                  <a:gd name="connsiteX26" fmla="*/ 7144 w 266700"/>
                  <a:gd name="connsiteY26" fmla="*/ 185261 h 266700"/>
                  <a:gd name="connsiteX27" fmla="*/ 84296 w 266700"/>
                  <a:gd name="connsiteY27" fmla="*/ 7144 h 266700"/>
                  <a:gd name="connsiteX28" fmla="*/ 84296 w 266700"/>
                  <a:gd name="connsiteY28" fmla="*/ 83344 h 266700"/>
                  <a:gd name="connsiteX29" fmla="*/ 7144 w 266700"/>
                  <a:gd name="connsiteY29" fmla="*/ 83344 h 266700"/>
                  <a:gd name="connsiteX30" fmla="*/ 7144 w 266700"/>
                  <a:gd name="connsiteY30" fmla="*/ 93821 h 266700"/>
                  <a:gd name="connsiteX31" fmla="*/ 93821 w 266700"/>
                  <a:gd name="connsiteY31" fmla="*/ 93821 h 266700"/>
                  <a:gd name="connsiteX32" fmla="*/ 93821 w 266700"/>
                  <a:gd name="connsiteY32" fmla="*/ 7144 h 266700"/>
                  <a:gd name="connsiteX33" fmla="*/ 84296 w 266700"/>
                  <a:gd name="connsiteY33" fmla="*/ 7144 h 266700"/>
                  <a:gd name="connsiteX34" fmla="*/ 84296 w 266700"/>
                  <a:gd name="connsiteY34" fmla="*/ 7144 h 266700"/>
                  <a:gd name="connsiteX35" fmla="*/ 84296 w 266700"/>
                  <a:gd name="connsiteY35" fmla="*/ 7144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6700" h="266700">
                    <a:moveTo>
                      <a:pt x="174784" y="174784"/>
                    </a:moveTo>
                    <a:lnTo>
                      <a:pt x="261461" y="174784"/>
                    </a:lnTo>
                    <a:lnTo>
                      <a:pt x="261461" y="185261"/>
                    </a:lnTo>
                    <a:lnTo>
                      <a:pt x="185261" y="185261"/>
                    </a:lnTo>
                    <a:lnTo>
                      <a:pt x="185261" y="263366"/>
                    </a:lnTo>
                    <a:lnTo>
                      <a:pt x="174784" y="263366"/>
                    </a:lnTo>
                    <a:lnTo>
                      <a:pt x="174784" y="174784"/>
                    </a:lnTo>
                    <a:lnTo>
                      <a:pt x="174784" y="174784"/>
                    </a:lnTo>
                    <a:lnTo>
                      <a:pt x="174784" y="174784"/>
                    </a:lnTo>
                    <a:close/>
                    <a:moveTo>
                      <a:pt x="184309" y="84296"/>
                    </a:moveTo>
                    <a:lnTo>
                      <a:pt x="184309" y="8096"/>
                    </a:lnTo>
                    <a:lnTo>
                      <a:pt x="173831" y="8096"/>
                    </a:lnTo>
                    <a:lnTo>
                      <a:pt x="173831" y="94774"/>
                    </a:lnTo>
                    <a:lnTo>
                      <a:pt x="260509" y="94774"/>
                    </a:lnTo>
                    <a:lnTo>
                      <a:pt x="260509" y="84296"/>
                    </a:lnTo>
                    <a:lnTo>
                      <a:pt x="184309" y="84296"/>
                    </a:lnTo>
                    <a:lnTo>
                      <a:pt x="184309" y="84296"/>
                    </a:lnTo>
                    <a:lnTo>
                      <a:pt x="184309" y="84296"/>
                    </a:lnTo>
                    <a:close/>
                    <a:moveTo>
                      <a:pt x="7144" y="185261"/>
                    </a:moveTo>
                    <a:lnTo>
                      <a:pt x="84296" y="185261"/>
                    </a:lnTo>
                    <a:lnTo>
                      <a:pt x="84296" y="263366"/>
                    </a:lnTo>
                    <a:lnTo>
                      <a:pt x="93821" y="263366"/>
                    </a:lnTo>
                    <a:lnTo>
                      <a:pt x="93821" y="175736"/>
                    </a:lnTo>
                    <a:lnTo>
                      <a:pt x="7144" y="175736"/>
                    </a:lnTo>
                    <a:lnTo>
                      <a:pt x="7144" y="185261"/>
                    </a:lnTo>
                    <a:lnTo>
                      <a:pt x="7144" y="185261"/>
                    </a:lnTo>
                    <a:lnTo>
                      <a:pt x="7144" y="185261"/>
                    </a:lnTo>
                    <a:close/>
                    <a:moveTo>
                      <a:pt x="84296" y="7144"/>
                    </a:moveTo>
                    <a:lnTo>
                      <a:pt x="84296" y="83344"/>
                    </a:lnTo>
                    <a:lnTo>
                      <a:pt x="7144" y="83344"/>
                    </a:lnTo>
                    <a:lnTo>
                      <a:pt x="7144" y="93821"/>
                    </a:lnTo>
                    <a:lnTo>
                      <a:pt x="93821" y="93821"/>
                    </a:lnTo>
                    <a:lnTo>
                      <a:pt x="93821" y="7144"/>
                    </a:lnTo>
                    <a:lnTo>
                      <a:pt x="84296" y="7144"/>
                    </a:lnTo>
                    <a:lnTo>
                      <a:pt x="84296" y="7144"/>
                    </a:lnTo>
                    <a:lnTo>
                      <a:pt x="84296" y="7144"/>
                    </a:lnTo>
                    <a:close/>
                  </a:path>
                </a:pathLst>
              </a:custGeom>
              <a:solidFill>
                <a:srgbClr val="FFFFFF"/>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A010D404-FFE3-4507-8C54-EFF0E4FD47DB}"/>
                  </a:ext>
                </a:extLst>
              </p:cNvPr>
              <p:cNvSpPr/>
              <p:nvPr/>
            </p:nvSpPr>
            <p:spPr>
              <a:xfrm>
                <a:off x="932882" y="948139"/>
                <a:ext cx="1029636" cy="1050230"/>
              </a:xfrm>
              <a:custGeom>
                <a:avLst/>
                <a:gdLst>
                  <a:gd name="connsiteX0" fmla="*/ 240506 w 476250"/>
                  <a:gd name="connsiteY0" fmla="*/ 7144 h 485775"/>
                  <a:gd name="connsiteX1" fmla="*/ 7144 w 476250"/>
                  <a:gd name="connsiteY1" fmla="*/ 244316 h 485775"/>
                  <a:gd name="connsiteX2" fmla="*/ 240506 w 476250"/>
                  <a:gd name="connsiteY2" fmla="*/ 481489 h 485775"/>
                  <a:gd name="connsiteX3" fmla="*/ 473869 w 476250"/>
                  <a:gd name="connsiteY3" fmla="*/ 244316 h 485775"/>
                  <a:gd name="connsiteX4" fmla="*/ 240506 w 476250"/>
                  <a:gd name="connsiteY4" fmla="*/ 7144 h 485775"/>
                  <a:gd name="connsiteX5" fmla="*/ 395764 w 476250"/>
                  <a:gd name="connsiteY5" fmla="*/ 402431 h 485775"/>
                  <a:gd name="connsiteX6" fmla="*/ 240506 w 476250"/>
                  <a:gd name="connsiteY6" fmla="*/ 468154 h 485775"/>
                  <a:gd name="connsiteX7" fmla="*/ 85249 w 476250"/>
                  <a:gd name="connsiteY7" fmla="*/ 402431 h 485775"/>
                  <a:gd name="connsiteX8" fmla="*/ 20479 w 476250"/>
                  <a:gd name="connsiteY8" fmla="*/ 244316 h 485775"/>
                  <a:gd name="connsiteX9" fmla="*/ 85249 w 476250"/>
                  <a:gd name="connsiteY9" fmla="*/ 86201 h 485775"/>
                  <a:gd name="connsiteX10" fmla="*/ 240506 w 476250"/>
                  <a:gd name="connsiteY10" fmla="*/ 20479 h 485775"/>
                  <a:gd name="connsiteX11" fmla="*/ 395764 w 476250"/>
                  <a:gd name="connsiteY11" fmla="*/ 86201 h 485775"/>
                  <a:gd name="connsiteX12" fmla="*/ 460534 w 476250"/>
                  <a:gd name="connsiteY12" fmla="*/ 244316 h 485775"/>
                  <a:gd name="connsiteX13" fmla="*/ 395764 w 476250"/>
                  <a:gd name="connsiteY13" fmla="*/ 40243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250" h="485775">
                    <a:moveTo>
                      <a:pt x="240506" y="7144"/>
                    </a:moveTo>
                    <a:cubicBezTo>
                      <a:pt x="111919" y="7144"/>
                      <a:pt x="7144" y="113824"/>
                      <a:pt x="7144" y="244316"/>
                    </a:cubicBezTo>
                    <a:cubicBezTo>
                      <a:pt x="7144" y="375761"/>
                      <a:pt x="111919" y="481489"/>
                      <a:pt x="240506" y="481489"/>
                    </a:cubicBezTo>
                    <a:cubicBezTo>
                      <a:pt x="369094" y="481489"/>
                      <a:pt x="473869" y="375761"/>
                      <a:pt x="473869" y="244316"/>
                    </a:cubicBezTo>
                    <a:cubicBezTo>
                      <a:pt x="473869" y="113824"/>
                      <a:pt x="370046" y="7144"/>
                      <a:pt x="240506" y="7144"/>
                    </a:cubicBezTo>
                    <a:close/>
                    <a:moveTo>
                      <a:pt x="395764" y="402431"/>
                    </a:moveTo>
                    <a:cubicBezTo>
                      <a:pt x="354806" y="444341"/>
                      <a:pt x="299561" y="468154"/>
                      <a:pt x="240506" y="468154"/>
                    </a:cubicBezTo>
                    <a:cubicBezTo>
                      <a:pt x="181451" y="468154"/>
                      <a:pt x="126206" y="445294"/>
                      <a:pt x="85249" y="402431"/>
                    </a:cubicBezTo>
                    <a:cubicBezTo>
                      <a:pt x="43339" y="360521"/>
                      <a:pt x="20479" y="304324"/>
                      <a:pt x="20479" y="244316"/>
                    </a:cubicBezTo>
                    <a:cubicBezTo>
                      <a:pt x="20479" y="184309"/>
                      <a:pt x="43339" y="129064"/>
                      <a:pt x="85249" y="86201"/>
                    </a:cubicBezTo>
                    <a:cubicBezTo>
                      <a:pt x="126206" y="44291"/>
                      <a:pt x="181451" y="20479"/>
                      <a:pt x="240506" y="20479"/>
                    </a:cubicBezTo>
                    <a:cubicBezTo>
                      <a:pt x="299561" y="20479"/>
                      <a:pt x="354806" y="43339"/>
                      <a:pt x="395764" y="86201"/>
                    </a:cubicBezTo>
                    <a:cubicBezTo>
                      <a:pt x="437674" y="128111"/>
                      <a:pt x="460534" y="184309"/>
                      <a:pt x="460534" y="244316"/>
                    </a:cubicBezTo>
                    <a:cubicBezTo>
                      <a:pt x="459581" y="304324"/>
                      <a:pt x="436721" y="360521"/>
                      <a:pt x="395764" y="402431"/>
                    </a:cubicBezTo>
                    <a:close/>
                  </a:path>
                </a:pathLst>
              </a:custGeom>
              <a:solidFill>
                <a:srgbClr val="FFFFFF"/>
              </a:solidFill>
              <a:ln w="9525"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FF3DDA07-60BA-4C5A-8867-BF036F734EEA}"/>
                  </a:ext>
                </a:extLst>
              </p:cNvPr>
              <p:cNvSpPr/>
              <p:nvPr/>
            </p:nvSpPr>
            <p:spPr>
              <a:xfrm>
                <a:off x="1673705" y="1145315"/>
                <a:ext cx="102964" cy="102964"/>
              </a:xfrm>
              <a:custGeom>
                <a:avLst/>
                <a:gdLst>
                  <a:gd name="connsiteX0" fmla="*/ 29289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9289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9289" y="9287"/>
                    </a:moveTo>
                    <a:cubicBezTo>
                      <a:pt x="9287" y="29289"/>
                      <a:pt x="9287" y="29289"/>
                      <a:pt x="9287" y="29289"/>
                    </a:cubicBezTo>
                    <a:cubicBezTo>
                      <a:pt x="6429" y="32147"/>
                      <a:pt x="6429" y="36909"/>
                      <a:pt x="9287" y="38814"/>
                    </a:cubicBezTo>
                    <a:cubicBezTo>
                      <a:pt x="10239" y="40719"/>
                      <a:pt x="12144" y="40719"/>
                      <a:pt x="14049" y="40719"/>
                    </a:cubicBezTo>
                    <a:cubicBezTo>
                      <a:pt x="15954" y="40719"/>
                      <a:pt x="17859" y="39767"/>
                      <a:pt x="18812" y="38814"/>
                    </a:cubicBezTo>
                    <a:cubicBezTo>
                      <a:pt x="38814" y="18812"/>
                      <a:pt x="38814" y="18812"/>
                      <a:pt x="38814" y="18812"/>
                    </a:cubicBezTo>
                    <a:cubicBezTo>
                      <a:pt x="41672" y="15954"/>
                      <a:pt x="41672" y="12144"/>
                      <a:pt x="38814" y="9287"/>
                    </a:cubicBezTo>
                    <a:cubicBezTo>
                      <a:pt x="36909" y="6429"/>
                      <a:pt x="32147" y="6429"/>
                      <a:pt x="29289" y="9287"/>
                    </a:cubicBez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DF0149A-7AFB-4DDF-9164-34989C1139CD}"/>
                  </a:ext>
                </a:extLst>
              </p:cNvPr>
              <p:cNvSpPr/>
              <p:nvPr/>
            </p:nvSpPr>
            <p:spPr>
              <a:xfrm>
                <a:off x="1127999" y="1703379"/>
                <a:ext cx="102964" cy="102964"/>
              </a:xfrm>
              <a:custGeom>
                <a:avLst/>
                <a:gdLst>
                  <a:gd name="connsiteX0" fmla="*/ 28337 w 47625"/>
                  <a:gd name="connsiteY0" fmla="*/ 9287 h 47625"/>
                  <a:gd name="connsiteX1" fmla="*/ 9287 w 47625"/>
                  <a:gd name="connsiteY1" fmla="*/ 29289 h 47625"/>
                  <a:gd name="connsiteX2" fmla="*/ 9287 w 47625"/>
                  <a:gd name="connsiteY2" fmla="*/ 38814 h 47625"/>
                  <a:gd name="connsiteX3" fmla="*/ 14049 w 47625"/>
                  <a:gd name="connsiteY3" fmla="*/ 40719 h 47625"/>
                  <a:gd name="connsiteX4" fmla="*/ 18812 w 47625"/>
                  <a:gd name="connsiteY4" fmla="*/ 38814 h 47625"/>
                  <a:gd name="connsiteX5" fmla="*/ 38814 w 47625"/>
                  <a:gd name="connsiteY5" fmla="*/ 18812 h 47625"/>
                  <a:gd name="connsiteX6" fmla="*/ 38814 w 47625"/>
                  <a:gd name="connsiteY6" fmla="*/ 9287 h 47625"/>
                  <a:gd name="connsiteX7" fmla="*/ 28337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8337" y="9287"/>
                    </a:moveTo>
                    <a:cubicBezTo>
                      <a:pt x="9287" y="29289"/>
                      <a:pt x="9287" y="29289"/>
                      <a:pt x="9287" y="29289"/>
                    </a:cubicBezTo>
                    <a:cubicBezTo>
                      <a:pt x="6429" y="32147"/>
                      <a:pt x="6429" y="35957"/>
                      <a:pt x="9287" y="38814"/>
                    </a:cubicBezTo>
                    <a:cubicBezTo>
                      <a:pt x="10239" y="39767"/>
                      <a:pt x="12144" y="40719"/>
                      <a:pt x="14049" y="40719"/>
                    </a:cubicBezTo>
                    <a:cubicBezTo>
                      <a:pt x="15954" y="40719"/>
                      <a:pt x="17859" y="39767"/>
                      <a:pt x="18812" y="38814"/>
                    </a:cubicBezTo>
                    <a:cubicBezTo>
                      <a:pt x="38814" y="18812"/>
                      <a:pt x="38814" y="18812"/>
                      <a:pt x="38814" y="18812"/>
                    </a:cubicBezTo>
                    <a:cubicBezTo>
                      <a:pt x="41672" y="15954"/>
                      <a:pt x="41672" y="11192"/>
                      <a:pt x="38814" y="9287"/>
                    </a:cubicBezTo>
                    <a:cubicBezTo>
                      <a:pt x="35957" y="6429"/>
                      <a:pt x="31194" y="6429"/>
                      <a:pt x="28337" y="9287"/>
                    </a:cubicBezTo>
                    <a:close/>
                  </a:path>
                </a:pathLst>
              </a:custGeom>
              <a:solidFill>
                <a:srgbClr val="FFFFFF"/>
              </a:solid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DEF09E71-ABAA-457E-9A17-FA84B0DCE424}"/>
                  </a:ext>
                </a:extLst>
              </p:cNvPr>
              <p:cNvSpPr/>
              <p:nvPr/>
            </p:nvSpPr>
            <p:spPr>
              <a:xfrm>
                <a:off x="1675766" y="1703379"/>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1192" y="6429"/>
                      <a:pt x="9287" y="9287"/>
                    </a:cubicBezTo>
                    <a:cubicBezTo>
                      <a:pt x="6429" y="12144"/>
                      <a:pt x="6429" y="15954"/>
                      <a:pt x="9287" y="18812"/>
                    </a:cubicBezTo>
                    <a:cubicBezTo>
                      <a:pt x="29289" y="38814"/>
                      <a:pt x="29289" y="38814"/>
                      <a:pt x="29289" y="38814"/>
                    </a:cubicBezTo>
                    <a:cubicBezTo>
                      <a:pt x="30242" y="39767"/>
                      <a:pt x="32147" y="40719"/>
                      <a:pt x="34052" y="40719"/>
                    </a:cubicBezTo>
                    <a:cubicBezTo>
                      <a:pt x="35957" y="40719"/>
                      <a:pt x="37862" y="39767"/>
                      <a:pt x="38814" y="38814"/>
                    </a:cubicBezTo>
                    <a:cubicBezTo>
                      <a:pt x="41672" y="35957"/>
                      <a:pt x="41672" y="31194"/>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31CB4975-503A-4728-8A59-45A017EDF17C}"/>
                  </a:ext>
                </a:extLst>
              </p:cNvPr>
              <p:cNvSpPr/>
              <p:nvPr/>
            </p:nvSpPr>
            <p:spPr>
              <a:xfrm>
                <a:off x="1127999" y="1145315"/>
                <a:ext cx="102964" cy="102964"/>
              </a:xfrm>
              <a:custGeom>
                <a:avLst/>
                <a:gdLst>
                  <a:gd name="connsiteX0" fmla="*/ 18812 w 47625"/>
                  <a:gd name="connsiteY0" fmla="*/ 9287 h 47625"/>
                  <a:gd name="connsiteX1" fmla="*/ 9287 w 47625"/>
                  <a:gd name="connsiteY1" fmla="*/ 9287 h 47625"/>
                  <a:gd name="connsiteX2" fmla="*/ 9287 w 47625"/>
                  <a:gd name="connsiteY2" fmla="*/ 18812 h 47625"/>
                  <a:gd name="connsiteX3" fmla="*/ 29289 w 47625"/>
                  <a:gd name="connsiteY3" fmla="*/ 38814 h 47625"/>
                  <a:gd name="connsiteX4" fmla="*/ 34052 w 47625"/>
                  <a:gd name="connsiteY4" fmla="*/ 40719 h 47625"/>
                  <a:gd name="connsiteX5" fmla="*/ 38814 w 47625"/>
                  <a:gd name="connsiteY5" fmla="*/ 38814 h 47625"/>
                  <a:gd name="connsiteX6" fmla="*/ 38814 w 47625"/>
                  <a:gd name="connsiteY6" fmla="*/ 29289 h 47625"/>
                  <a:gd name="connsiteX7" fmla="*/ 18812 w 47625"/>
                  <a:gd name="connsiteY7" fmla="*/ 928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18812" y="9287"/>
                    </a:moveTo>
                    <a:cubicBezTo>
                      <a:pt x="15954" y="6429"/>
                      <a:pt x="12144" y="6429"/>
                      <a:pt x="9287" y="9287"/>
                    </a:cubicBezTo>
                    <a:cubicBezTo>
                      <a:pt x="6429" y="12144"/>
                      <a:pt x="6429" y="16907"/>
                      <a:pt x="9287" y="18812"/>
                    </a:cubicBezTo>
                    <a:cubicBezTo>
                      <a:pt x="29289" y="38814"/>
                      <a:pt x="29289" y="38814"/>
                      <a:pt x="29289" y="38814"/>
                    </a:cubicBezTo>
                    <a:cubicBezTo>
                      <a:pt x="31194" y="40719"/>
                      <a:pt x="32147" y="40719"/>
                      <a:pt x="34052" y="40719"/>
                    </a:cubicBezTo>
                    <a:cubicBezTo>
                      <a:pt x="35957" y="40719"/>
                      <a:pt x="37862" y="39767"/>
                      <a:pt x="38814" y="38814"/>
                    </a:cubicBezTo>
                    <a:cubicBezTo>
                      <a:pt x="41672" y="35957"/>
                      <a:pt x="41672" y="32147"/>
                      <a:pt x="38814" y="29289"/>
                    </a:cubicBezTo>
                    <a:cubicBezTo>
                      <a:pt x="18812" y="9287"/>
                      <a:pt x="18812" y="9287"/>
                      <a:pt x="18812" y="9287"/>
                    </a:cubicBezTo>
                    <a:close/>
                  </a:path>
                </a:pathLst>
              </a:custGeom>
              <a:solidFill>
                <a:srgbClr val="FFFFFF"/>
              </a:solidFill>
              <a:ln w="9525" cap="flat">
                <a:noFill/>
                <a:prstDash val="solid"/>
                <a:miter/>
              </a:ln>
            </p:spPr>
            <p:txBody>
              <a:bodyPr rtlCol="0" anchor="ctr"/>
              <a:lstStyle/>
              <a:p>
                <a:endParaRPr lang="en-GB"/>
              </a:p>
            </p:txBody>
          </p:sp>
        </p:grpSp>
        <p:grpSp>
          <p:nvGrpSpPr>
            <p:cNvPr id="4" name="Group 3">
              <a:extLst>
                <a:ext uri="{FF2B5EF4-FFF2-40B4-BE49-F238E27FC236}">
                  <a16:creationId xmlns:a16="http://schemas.microsoft.com/office/drawing/2014/main" id="{7032E890-7388-47F6-A162-61617C102531}"/>
                </a:ext>
              </a:extLst>
            </p:cNvPr>
            <p:cNvGrpSpPr/>
            <p:nvPr userDrawn="1"/>
          </p:nvGrpSpPr>
          <p:grpSpPr>
            <a:xfrm>
              <a:off x="4130425" y="3025523"/>
              <a:ext cx="3931149" cy="733101"/>
              <a:chOff x="2199335" y="1119060"/>
              <a:chExt cx="3931149" cy="733101"/>
            </a:xfrm>
          </p:grpSpPr>
          <p:sp>
            <p:nvSpPr>
              <p:cNvPr id="18" name="Freeform: Shape 17">
                <a:extLst>
                  <a:ext uri="{FF2B5EF4-FFF2-40B4-BE49-F238E27FC236}">
                    <a16:creationId xmlns:a16="http://schemas.microsoft.com/office/drawing/2014/main" id="{54E9F538-AD5D-41C6-AD63-60ED182C41BA}"/>
                  </a:ext>
                </a:extLst>
              </p:cNvPr>
              <p:cNvSpPr/>
              <p:nvPr/>
            </p:nvSpPr>
            <p:spPr>
              <a:xfrm>
                <a:off x="2199335" y="1119060"/>
                <a:ext cx="556003" cy="720746"/>
              </a:xfrm>
              <a:custGeom>
                <a:avLst/>
                <a:gdLst>
                  <a:gd name="connsiteX0" fmla="*/ 256699 w 257175"/>
                  <a:gd name="connsiteY0" fmla="*/ 232886 h 333375"/>
                  <a:gd name="connsiteX1" fmla="*/ 242411 w 257175"/>
                  <a:gd name="connsiteY1" fmla="*/ 284321 h 333375"/>
                  <a:gd name="connsiteX2" fmla="*/ 199549 w 257175"/>
                  <a:gd name="connsiteY2" fmla="*/ 319564 h 333375"/>
                  <a:gd name="connsiteX3" fmla="*/ 132874 w 257175"/>
                  <a:gd name="connsiteY3" fmla="*/ 331946 h 333375"/>
                  <a:gd name="connsiteX4" fmla="*/ 55721 w 257175"/>
                  <a:gd name="connsiteY4" fmla="*/ 314801 h 333375"/>
                  <a:gd name="connsiteX5" fmla="*/ 20479 w 257175"/>
                  <a:gd name="connsiteY5" fmla="*/ 281464 h 333375"/>
                  <a:gd name="connsiteX6" fmla="*/ 7144 w 257175"/>
                  <a:gd name="connsiteY6" fmla="*/ 240506 h 333375"/>
                  <a:gd name="connsiteX7" fmla="*/ 14764 w 257175"/>
                  <a:gd name="connsiteY7" fmla="*/ 220504 h 333375"/>
                  <a:gd name="connsiteX8" fmla="*/ 34766 w 257175"/>
                  <a:gd name="connsiteY8" fmla="*/ 211931 h 333375"/>
                  <a:gd name="connsiteX9" fmla="*/ 51911 w 257175"/>
                  <a:gd name="connsiteY9" fmla="*/ 218599 h 333375"/>
                  <a:gd name="connsiteX10" fmla="*/ 63341 w 257175"/>
                  <a:gd name="connsiteY10" fmla="*/ 237649 h 333375"/>
                  <a:gd name="connsiteX11" fmla="*/ 76676 w 257175"/>
                  <a:gd name="connsiteY11" fmla="*/ 262414 h 333375"/>
                  <a:gd name="connsiteX12" fmla="*/ 96679 w 257175"/>
                  <a:gd name="connsiteY12" fmla="*/ 278606 h 333375"/>
                  <a:gd name="connsiteX13" fmla="*/ 130016 w 257175"/>
                  <a:gd name="connsiteY13" fmla="*/ 285274 h 333375"/>
                  <a:gd name="connsiteX14" fmla="*/ 175736 w 257175"/>
                  <a:gd name="connsiteY14" fmla="*/ 271939 h 333375"/>
                  <a:gd name="connsiteX15" fmla="*/ 193834 w 257175"/>
                  <a:gd name="connsiteY15" fmla="*/ 238601 h 333375"/>
                  <a:gd name="connsiteX16" fmla="*/ 184309 w 257175"/>
                  <a:gd name="connsiteY16" fmla="*/ 212884 h 333375"/>
                  <a:gd name="connsiteX17" fmla="*/ 159544 w 257175"/>
                  <a:gd name="connsiteY17" fmla="*/ 197644 h 333375"/>
                  <a:gd name="connsiteX18" fmla="*/ 119539 w 257175"/>
                  <a:gd name="connsiteY18" fmla="*/ 187166 h 333375"/>
                  <a:gd name="connsiteX19" fmla="*/ 63341 w 257175"/>
                  <a:gd name="connsiteY19" fmla="*/ 169069 h 333375"/>
                  <a:gd name="connsiteX20" fmla="*/ 27146 w 257175"/>
                  <a:gd name="connsiteY20" fmla="*/ 140494 h 333375"/>
                  <a:gd name="connsiteX21" fmla="*/ 13811 w 257175"/>
                  <a:gd name="connsiteY21" fmla="*/ 94774 h 333375"/>
                  <a:gd name="connsiteX22" fmla="*/ 28099 w 257175"/>
                  <a:gd name="connsiteY22" fmla="*/ 49054 h 333375"/>
                  <a:gd name="connsiteX23" fmla="*/ 69056 w 257175"/>
                  <a:gd name="connsiteY23" fmla="*/ 17621 h 333375"/>
                  <a:gd name="connsiteX24" fmla="*/ 131921 w 257175"/>
                  <a:gd name="connsiteY24" fmla="*/ 7144 h 333375"/>
                  <a:gd name="connsiteX25" fmla="*/ 182404 w 257175"/>
                  <a:gd name="connsiteY25" fmla="*/ 14764 h 333375"/>
                  <a:gd name="connsiteX26" fmla="*/ 217646 w 257175"/>
                  <a:gd name="connsiteY26" fmla="*/ 33814 h 333375"/>
                  <a:gd name="connsiteX27" fmla="*/ 237649 w 257175"/>
                  <a:gd name="connsiteY27" fmla="*/ 58579 h 333375"/>
                  <a:gd name="connsiteX28" fmla="*/ 244316 w 257175"/>
                  <a:gd name="connsiteY28" fmla="*/ 84296 h 333375"/>
                  <a:gd name="connsiteX29" fmla="*/ 236696 w 257175"/>
                  <a:gd name="connsiteY29" fmla="*/ 104299 h 333375"/>
                  <a:gd name="connsiteX30" fmla="*/ 216694 w 257175"/>
                  <a:gd name="connsiteY30" fmla="*/ 113824 h 333375"/>
                  <a:gd name="connsiteX31" fmla="*/ 200501 w 257175"/>
                  <a:gd name="connsiteY31" fmla="*/ 108109 h 333375"/>
                  <a:gd name="connsiteX32" fmla="*/ 188119 w 257175"/>
                  <a:gd name="connsiteY32" fmla="*/ 90011 h 333375"/>
                  <a:gd name="connsiteX33" fmla="*/ 167164 w 257175"/>
                  <a:gd name="connsiteY33" fmla="*/ 62389 h 333375"/>
                  <a:gd name="connsiteX34" fmla="*/ 129064 w 257175"/>
                  <a:gd name="connsiteY34" fmla="*/ 52864 h 333375"/>
                  <a:gd name="connsiteX35" fmla="*/ 89059 w 257175"/>
                  <a:gd name="connsiteY35" fmla="*/ 63341 h 333375"/>
                  <a:gd name="connsiteX36" fmla="*/ 73819 w 257175"/>
                  <a:gd name="connsiteY36" fmla="*/ 89059 h 333375"/>
                  <a:gd name="connsiteX37" fmla="*/ 78581 w 257175"/>
                  <a:gd name="connsiteY37" fmla="*/ 105251 h 333375"/>
                  <a:gd name="connsiteX38" fmla="*/ 92869 w 257175"/>
                  <a:gd name="connsiteY38" fmla="*/ 116681 h 333375"/>
                  <a:gd name="connsiteX39" fmla="*/ 110966 w 257175"/>
                  <a:gd name="connsiteY39" fmla="*/ 124301 h 333375"/>
                  <a:gd name="connsiteX40" fmla="*/ 141446 w 257175"/>
                  <a:gd name="connsiteY40" fmla="*/ 132874 h 333375"/>
                  <a:gd name="connsiteX41" fmla="*/ 189071 w 257175"/>
                  <a:gd name="connsiteY41" fmla="*/ 146209 h 333375"/>
                  <a:gd name="connsiteX42" fmla="*/ 225266 w 257175"/>
                  <a:gd name="connsiteY42" fmla="*/ 164306 h 333375"/>
                  <a:gd name="connsiteX43" fmla="*/ 249079 w 257175"/>
                  <a:gd name="connsiteY43" fmla="*/ 190976 h 333375"/>
                  <a:gd name="connsiteX44" fmla="*/ 256699 w 257175"/>
                  <a:gd name="connsiteY44" fmla="*/ 23288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57175" h="333375">
                    <a:moveTo>
                      <a:pt x="256699" y="232886"/>
                    </a:moveTo>
                    <a:cubicBezTo>
                      <a:pt x="256699" y="251936"/>
                      <a:pt x="251936" y="269081"/>
                      <a:pt x="242411" y="284321"/>
                    </a:cubicBezTo>
                    <a:cubicBezTo>
                      <a:pt x="232886" y="299561"/>
                      <a:pt x="218599" y="310991"/>
                      <a:pt x="199549" y="319564"/>
                    </a:cubicBezTo>
                    <a:cubicBezTo>
                      <a:pt x="180499" y="328136"/>
                      <a:pt x="158591" y="331946"/>
                      <a:pt x="132874" y="331946"/>
                    </a:cubicBezTo>
                    <a:cubicBezTo>
                      <a:pt x="101441" y="331946"/>
                      <a:pt x="76676" y="326231"/>
                      <a:pt x="55721" y="314801"/>
                    </a:cubicBezTo>
                    <a:cubicBezTo>
                      <a:pt x="41434" y="306229"/>
                      <a:pt x="30004" y="294799"/>
                      <a:pt x="20479" y="281464"/>
                    </a:cubicBezTo>
                    <a:cubicBezTo>
                      <a:pt x="11906" y="267176"/>
                      <a:pt x="7144" y="253841"/>
                      <a:pt x="7144" y="240506"/>
                    </a:cubicBezTo>
                    <a:cubicBezTo>
                      <a:pt x="7144" y="232886"/>
                      <a:pt x="10001" y="226219"/>
                      <a:pt x="14764" y="220504"/>
                    </a:cubicBezTo>
                    <a:cubicBezTo>
                      <a:pt x="20479" y="214789"/>
                      <a:pt x="27146" y="211931"/>
                      <a:pt x="34766" y="211931"/>
                    </a:cubicBezTo>
                    <a:cubicBezTo>
                      <a:pt x="41434" y="211931"/>
                      <a:pt x="47149" y="213836"/>
                      <a:pt x="51911" y="218599"/>
                    </a:cubicBezTo>
                    <a:cubicBezTo>
                      <a:pt x="56674" y="222409"/>
                      <a:pt x="60484" y="229076"/>
                      <a:pt x="63341" y="237649"/>
                    </a:cubicBezTo>
                    <a:cubicBezTo>
                      <a:pt x="67151" y="247174"/>
                      <a:pt x="71914" y="255746"/>
                      <a:pt x="76676" y="262414"/>
                    </a:cubicBezTo>
                    <a:cubicBezTo>
                      <a:pt x="81439" y="269081"/>
                      <a:pt x="88106" y="274796"/>
                      <a:pt x="96679" y="278606"/>
                    </a:cubicBezTo>
                    <a:cubicBezTo>
                      <a:pt x="105251" y="283369"/>
                      <a:pt x="115729" y="285274"/>
                      <a:pt x="130016" y="285274"/>
                    </a:cubicBezTo>
                    <a:cubicBezTo>
                      <a:pt x="149066" y="285274"/>
                      <a:pt x="164306" y="280511"/>
                      <a:pt x="175736" y="271939"/>
                    </a:cubicBezTo>
                    <a:cubicBezTo>
                      <a:pt x="187166" y="263366"/>
                      <a:pt x="193834" y="251936"/>
                      <a:pt x="193834" y="238601"/>
                    </a:cubicBezTo>
                    <a:cubicBezTo>
                      <a:pt x="193834" y="228124"/>
                      <a:pt x="190976" y="219551"/>
                      <a:pt x="184309" y="212884"/>
                    </a:cubicBezTo>
                    <a:cubicBezTo>
                      <a:pt x="177641" y="206216"/>
                      <a:pt x="170021" y="201454"/>
                      <a:pt x="159544" y="197644"/>
                    </a:cubicBezTo>
                    <a:cubicBezTo>
                      <a:pt x="149066" y="193834"/>
                      <a:pt x="135731" y="190976"/>
                      <a:pt x="119539" y="187166"/>
                    </a:cubicBezTo>
                    <a:cubicBezTo>
                      <a:pt x="96679" y="181451"/>
                      <a:pt x="77629" y="175736"/>
                      <a:pt x="63341" y="169069"/>
                    </a:cubicBezTo>
                    <a:cubicBezTo>
                      <a:pt x="49054" y="162401"/>
                      <a:pt x="35719" y="151924"/>
                      <a:pt x="27146" y="140494"/>
                    </a:cubicBezTo>
                    <a:cubicBezTo>
                      <a:pt x="18574" y="128111"/>
                      <a:pt x="13811" y="112871"/>
                      <a:pt x="13811" y="94774"/>
                    </a:cubicBezTo>
                    <a:cubicBezTo>
                      <a:pt x="13811" y="77629"/>
                      <a:pt x="18574" y="62389"/>
                      <a:pt x="28099" y="49054"/>
                    </a:cubicBezTo>
                    <a:cubicBezTo>
                      <a:pt x="37624" y="35719"/>
                      <a:pt x="50959" y="25241"/>
                      <a:pt x="69056" y="17621"/>
                    </a:cubicBezTo>
                    <a:cubicBezTo>
                      <a:pt x="87154" y="10001"/>
                      <a:pt x="108109" y="7144"/>
                      <a:pt x="131921" y="7144"/>
                    </a:cubicBezTo>
                    <a:cubicBezTo>
                      <a:pt x="150971" y="7144"/>
                      <a:pt x="168116" y="10001"/>
                      <a:pt x="182404" y="14764"/>
                    </a:cubicBezTo>
                    <a:cubicBezTo>
                      <a:pt x="196691" y="19526"/>
                      <a:pt x="208121" y="26194"/>
                      <a:pt x="217646" y="33814"/>
                    </a:cubicBezTo>
                    <a:cubicBezTo>
                      <a:pt x="227171" y="41434"/>
                      <a:pt x="233839" y="50006"/>
                      <a:pt x="237649" y="58579"/>
                    </a:cubicBezTo>
                    <a:cubicBezTo>
                      <a:pt x="241459" y="67151"/>
                      <a:pt x="244316" y="75724"/>
                      <a:pt x="244316" y="84296"/>
                    </a:cubicBezTo>
                    <a:cubicBezTo>
                      <a:pt x="244316" y="91916"/>
                      <a:pt x="241459" y="98584"/>
                      <a:pt x="236696" y="104299"/>
                    </a:cubicBezTo>
                    <a:cubicBezTo>
                      <a:pt x="230981" y="110014"/>
                      <a:pt x="224314" y="113824"/>
                      <a:pt x="216694" y="113824"/>
                    </a:cubicBezTo>
                    <a:cubicBezTo>
                      <a:pt x="209074" y="113824"/>
                      <a:pt x="204311" y="111919"/>
                      <a:pt x="200501" y="108109"/>
                    </a:cubicBezTo>
                    <a:cubicBezTo>
                      <a:pt x="196691" y="104299"/>
                      <a:pt x="192881" y="98584"/>
                      <a:pt x="188119" y="90011"/>
                    </a:cubicBezTo>
                    <a:cubicBezTo>
                      <a:pt x="182404" y="78581"/>
                      <a:pt x="175736" y="69056"/>
                      <a:pt x="167164" y="62389"/>
                    </a:cubicBezTo>
                    <a:cubicBezTo>
                      <a:pt x="159544" y="55721"/>
                      <a:pt x="146209" y="52864"/>
                      <a:pt x="129064" y="52864"/>
                    </a:cubicBezTo>
                    <a:cubicBezTo>
                      <a:pt x="112871" y="52864"/>
                      <a:pt x="99536" y="56674"/>
                      <a:pt x="89059" y="63341"/>
                    </a:cubicBezTo>
                    <a:cubicBezTo>
                      <a:pt x="78581" y="70961"/>
                      <a:pt x="73819" y="79534"/>
                      <a:pt x="73819" y="89059"/>
                    </a:cubicBezTo>
                    <a:cubicBezTo>
                      <a:pt x="73819" y="95726"/>
                      <a:pt x="75724" y="100489"/>
                      <a:pt x="78581" y="105251"/>
                    </a:cubicBezTo>
                    <a:cubicBezTo>
                      <a:pt x="82391" y="110014"/>
                      <a:pt x="87154" y="113824"/>
                      <a:pt x="92869" y="116681"/>
                    </a:cubicBezTo>
                    <a:cubicBezTo>
                      <a:pt x="98584" y="119539"/>
                      <a:pt x="105251" y="122396"/>
                      <a:pt x="110966" y="124301"/>
                    </a:cubicBezTo>
                    <a:cubicBezTo>
                      <a:pt x="116681" y="126206"/>
                      <a:pt x="127159" y="129064"/>
                      <a:pt x="141446" y="132874"/>
                    </a:cubicBezTo>
                    <a:cubicBezTo>
                      <a:pt x="159544" y="136684"/>
                      <a:pt x="174784" y="141446"/>
                      <a:pt x="189071" y="146209"/>
                    </a:cubicBezTo>
                    <a:cubicBezTo>
                      <a:pt x="203359" y="150971"/>
                      <a:pt x="215741" y="157639"/>
                      <a:pt x="225266" y="164306"/>
                    </a:cubicBezTo>
                    <a:cubicBezTo>
                      <a:pt x="235744" y="171926"/>
                      <a:pt x="243364" y="180499"/>
                      <a:pt x="249079" y="190976"/>
                    </a:cubicBezTo>
                    <a:cubicBezTo>
                      <a:pt x="253841" y="203359"/>
                      <a:pt x="256699" y="216694"/>
                      <a:pt x="256699" y="232886"/>
                    </a:cubicBezTo>
                    <a:close/>
                  </a:path>
                </a:pathLst>
              </a:custGeom>
              <a:solidFill>
                <a:srgbClr val="FFFFFF"/>
              </a:solidFill>
              <a:ln w="9525"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3CA67C2E-9C32-4BE6-879F-32A35481A1F4}"/>
                  </a:ext>
                </a:extLst>
              </p:cNvPr>
              <p:cNvSpPr/>
              <p:nvPr/>
            </p:nvSpPr>
            <p:spPr>
              <a:xfrm>
                <a:off x="2850065" y="1131415"/>
                <a:ext cx="679560" cy="720746"/>
              </a:xfrm>
              <a:custGeom>
                <a:avLst/>
                <a:gdLst>
                  <a:gd name="connsiteX0" fmla="*/ 115729 w 314325"/>
                  <a:gd name="connsiteY0" fmla="*/ 273844 h 333375"/>
                  <a:gd name="connsiteX1" fmla="*/ 65246 w 314325"/>
                  <a:gd name="connsiteY1" fmla="*/ 73819 h 333375"/>
                  <a:gd name="connsiteX2" fmla="*/ 65246 w 314325"/>
                  <a:gd name="connsiteY2" fmla="*/ 290989 h 333375"/>
                  <a:gd name="connsiteX3" fmla="*/ 57626 w 314325"/>
                  <a:gd name="connsiteY3" fmla="*/ 317659 h 333375"/>
                  <a:gd name="connsiteX4" fmla="*/ 36671 w 314325"/>
                  <a:gd name="connsiteY4" fmla="*/ 326231 h 333375"/>
                  <a:gd name="connsiteX5" fmla="*/ 15716 w 314325"/>
                  <a:gd name="connsiteY5" fmla="*/ 317659 h 333375"/>
                  <a:gd name="connsiteX6" fmla="*/ 7144 w 314325"/>
                  <a:gd name="connsiteY6" fmla="*/ 290989 h 333375"/>
                  <a:gd name="connsiteX7" fmla="*/ 7144 w 314325"/>
                  <a:gd name="connsiteY7" fmla="*/ 42386 h 333375"/>
                  <a:gd name="connsiteX8" fmla="*/ 17621 w 314325"/>
                  <a:gd name="connsiteY8" fmla="*/ 14764 h 333375"/>
                  <a:gd name="connsiteX9" fmla="*/ 46196 w 314325"/>
                  <a:gd name="connsiteY9" fmla="*/ 7144 h 333375"/>
                  <a:gd name="connsiteX10" fmla="*/ 66199 w 314325"/>
                  <a:gd name="connsiteY10" fmla="*/ 7144 h 333375"/>
                  <a:gd name="connsiteX11" fmla="*/ 91916 w 314325"/>
                  <a:gd name="connsiteY11" fmla="*/ 10001 h 333375"/>
                  <a:gd name="connsiteX12" fmla="*/ 103346 w 314325"/>
                  <a:gd name="connsiteY12" fmla="*/ 21431 h 333375"/>
                  <a:gd name="connsiteX13" fmla="*/ 111919 w 314325"/>
                  <a:gd name="connsiteY13" fmla="*/ 49054 h 333375"/>
                  <a:gd name="connsiteX14" fmla="*/ 157639 w 314325"/>
                  <a:gd name="connsiteY14" fmla="*/ 221456 h 333375"/>
                  <a:gd name="connsiteX15" fmla="*/ 203359 w 314325"/>
                  <a:gd name="connsiteY15" fmla="*/ 49054 h 333375"/>
                  <a:gd name="connsiteX16" fmla="*/ 211931 w 314325"/>
                  <a:gd name="connsiteY16" fmla="*/ 21431 h 333375"/>
                  <a:gd name="connsiteX17" fmla="*/ 223361 w 314325"/>
                  <a:gd name="connsiteY17" fmla="*/ 10001 h 333375"/>
                  <a:gd name="connsiteX18" fmla="*/ 249079 w 314325"/>
                  <a:gd name="connsiteY18" fmla="*/ 7144 h 333375"/>
                  <a:gd name="connsiteX19" fmla="*/ 269081 w 314325"/>
                  <a:gd name="connsiteY19" fmla="*/ 7144 h 333375"/>
                  <a:gd name="connsiteX20" fmla="*/ 297656 w 314325"/>
                  <a:gd name="connsiteY20" fmla="*/ 14764 h 333375"/>
                  <a:gd name="connsiteX21" fmla="*/ 308134 w 314325"/>
                  <a:gd name="connsiteY21" fmla="*/ 42386 h 333375"/>
                  <a:gd name="connsiteX22" fmla="*/ 308134 w 314325"/>
                  <a:gd name="connsiteY22" fmla="*/ 290989 h 333375"/>
                  <a:gd name="connsiteX23" fmla="*/ 300514 w 314325"/>
                  <a:gd name="connsiteY23" fmla="*/ 317659 h 333375"/>
                  <a:gd name="connsiteX24" fmla="*/ 278606 w 314325"/>
                  <a:gd name="connsiteY24" fmla="*/ 326231 h 333375"/>
                  <a:gd name="connsiteX25" fmla="*/ 257651 w 314325"/>
                  <a:gd name="connsiteY25" fmla="*/ 317659 h 333375"/>
                  <a:gd name="connsiteX26" fmla="*/ 249079 w 314325"/>
                  <a:gd name="connsiteY26" fmla="*/ 290989 h 333375"/>
                  <a:gd name="connsiteX27" fmla="*/ 249079 w 314325"/>
                  <a:gd name="connsiteY27" fmla="*/ 73819 h 333375"/>
                  <a:gd name="connsiteX28" fmla="*/ 198596 w 314325"/>
                  <a:gd name="connsiteY28" fmla="*/ 273844 h 333375"/>
                  <a:gd name="connsiteX29" fmla="*/ 190976 w 314325"/>
                  <a:gd name="connsiteY29" fmla="*/ 302419 h 333375"/>
                  <a:gd name="connsiteX30" fmla="*/ 179546 w 314325"/>
                  <a:gd name="connsiteY30" fmla="*/ 318611 h 333375"/>
                  <a:gd name="connsiteX31" fmla="*/ 156686 w 314325"/>
                  <a:gd name="connsiteY31" fmla="*/ 326231 h 333375"/>
                  <a:gd name="connsiteX32" fmla="*/ 137636 w 314325"/>
                  <a:gd name="connsiteY32" fmla="*/ 321469 h 333375"/>
                  <a:gd name="connsiteX33" fmla="*/ 125254 w 314325"/>
                  <a:gd name="connsiteY33" fmla="*/ 309086 h 333375"/>
                  <a:gd name="connsiteX34" fmla="*/ 118586 w 314325"/>
                  <a:gd name="connsiteY34" fmla="*/ 292894 h 333375"/>
                  <a:gd name="connsiteX35" fmla="*/ 115729 w 314325"/>
                  <a:gd name="connsiteY35" fmla="*/ 273844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14325" h="333375">
                    <a:moveTo>
                      <a:pt x="115729" y="273844"/>
                    </a:moveTo>
                    <a:lnTo>
                      <a:pt x="65246" y="73819"/>
                    </a:lnTo>
                    <a:lnTo>
                      <a:pt x="65246" y="290989"/>
                    </a:lnTo>
                    <a:cubicBezTo>
                      <a:pt x="65246" y="303371"/>
                      <a:pt x="62389" y="311944"/>
                      <a:pt x="57626" y="317659"/>
                    </a:cubicBezTo>
                    <a:cubicBezTo>
                      <a:pt x="51911" y="323374"/>
                      <a:pt x="45244" y="326231"/>
                      <a:pt x="36671" y="326231"/>
                    </a:cubicBezTo>
                    <a:cubicBezTo>
                      <a:pt x="28099" y="326231"/>
                      <a:pt x="21431" y="323374"/>
                      <a:pt x="15716" y="317659"/>
                    </a:cubicBezTo>
                    <a:cubicBezTo>
                      <a:pt x="10001" y="311944"/>
                      <a:pt x="7144" y="302419"/>
                      <a:pt x="7144" y="290989"/>
                    </a:cubicBezTo>
                    <a:lnTo>
                      <a:pt x="7144" y="42386"/>
                    </a:lnTo>
                    <a:cubicBezTo>
                      <a:pt x="7144" y="29051"/>
                      <a:pt x="10954" y="19526"/>
                      <a:pt x="17621" y="14764"/>
                    </a:cubicBezTo>
                    <a:cubicBezTo>
                      <a:pt x="25241" y="10001"/>
                      <a:pt x="34766" y="7144"/>
                      <a:pt x="46196" y="7144"/>
                    </a:cubicBezTo>
                    <a:lnTo>
                      <a:pt x="66199" y="7144"/>
                    </a:lnTo>
                    <a:cubicBezTo>
                      <a:pt x="77629" y="7144"/>
                      <a:pt x="86201" y="8096"/>
                      <a:pt x="91916" y="10001"/>
                    </a:cubicBezTo>
                    <a:cubicBezTo>
                      <a:pt x="97631" y="11906"/>
                      <a:pt x="101441" y="15716"/>
                      <a:pt x="103346" y="21431"/>
                    </a:cubicBezTo>
                    <a:cubicBezTo>
                      <a:pt x="106204" y="27146"/>
                      <a:pt x="109061" y="35719"/>
                      <a:pt x="111919" y="49054"/>
                    </a:cubicBezTo>
                    <a:lnTo>
                      <a:pt x="157639" y="221456"/>
                    </a:lnTo>
                    <a:lnTo>
                      <a:pt x="203359" y="49054"/>
                    </a:lnTo>
                    <a:cubicBezTo>
                      <a:pt x="206216" y="36671"/>
                      <a:pt x="210026" y="27146"/>
                      <a:pt x="211931" y="21431"/>
                    </a:cubicBezTo>
                    <a:cubicBezTo>
                      <a:pt x="213836" y="15716"/>
                      <a:pt x="218599" y="11906"/>
                      <a:pt x="223361" y="10001"/>
                    </a:cubicBezTo>
                    <a:cubicBezTo>
                      <a:pt x="229076" y="8096"/>
                      <a:pt x="237649" y="7144"/>
                      <a:pt x="249079" y="7144"/>
                    </a:cubicBezTo>
                    <a:lnTo>
                      <a:pt x="269081" y="7144"/>
                    </a:lnTo>
                    <a:cubicBezTo>
                      <a:pt x="281464" y="7144"/>
                      <a:pt x="290989" y="10001"/>
                      <a:pt x="297656" y="14764"/>
                    </a:cubicBezTo>
                    <a:cubicBezTo>
                      <a:pt x="305276" y="19526"/>
                      <a:pt x="308134" y="29051"/>
                      <a:pt x="308134" y="42386"/>
                    </a:cubicBezTo>
                    <a:lnTo>
                      <a:pt x="308134" y="290989"/>
                    </a:lnTo>
                    <a:cubicBezTo>
                      <a:pt x="308134" y="303371"/>
                      <a:pt x="305276" y="311944"/>
                      <a:pt x="300514" y="317659"/>
                    </a:cubicBezTo>
                    <a:cubicBezTo>
                      <a:pt x="294799" y="323374"/>
                      <a:pt x="288131" y="326231"/>
                      <a:pt x="278606" y="326231"/>
                    </a:cubicBezTo>
                    <a:cubicBezTo>
                      <a:pt x="270034" y="326231"/>
                      <a:pt x="263366" y="323374"/>
                      <a:pt x="257651" y="317659"/>
                    </a:cubicBezTo>
                    <a:cubicBezTo>
                      <a:pt x="251936" y="311944"/>
                      <a:pt x="249079" y="302419"/>
                      <a:pt x="249079" y="290989"/>
                    </a:cubicBezTo>
                    <a:lnTo>
                      <a:pt x="249079" y="73819"/>
                    </a:lnTo>
                    <a:lnTo>
                      <a:pt x="198596" y="273844"/>
                    </a:lnTo>
                    <a:cubicBezTo>
                      <a:pt x="195739" y="287179"/>
                      <a:pt x="192881" y="296704"/>
                      <a:pt x="190976" y="302419"/>
                    </a:cubicBezTo>
                    <a:cubicBezTo>
                      <a:pt x="189071" y="308134"/>
                      <a:pt x="185261" y="313849"/>
                      <a:pt x="179546" y="318611"/>
                    </a:cubicBezTo>
                    <a:cubicBezTo>
                      <a:pt x="173831" y="323374"/>
                      <a:pt x="166211" y="326231"/>
                      <a:pt x="156686" y="326231"/>
                    </a:cubicBezTo>
                    <a:cubicBezTo>
                      <a:pt x="149066" y="326231"/>
                      <a:pt x="143351" y="324326"/>
                      <a:pt x="137636" y="321469"/>
                    </a:cubicBezTo>
                    <a:cubicBezTo>
                      <a:pt x="132874" y="318611"/>
                      <a:pt x="128111" y="313849"/>
                      <a:pt x="125254" y="309086"/>
                    </a:cubicBezTo>
                    <a:cubicBezTo>
                      <a:pt x="122396" y="304324"/>
                      <a:pt x="120491" y="298609"/>
                      <a:pt x="118586" y="292894"/>
                    </a:cubicBezTo>
                    <a:cubicBezTo>
                      <a:pt x="119539" y="287179"/>
                      <a:pt x="117634" y="280511"/>
                      <a:pt x="115729" y="273844"/>
                    </a:cubicBezTo>
                    <a:close/>
                  </a:path>
                </a:pathLst>
              </a:custGeom>
              <a:solidFill>
                <a:srgbClr val="FFFFFF"/>
              </a:solidFill>
              <a:ln w="9525"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B9D5494D-79E5-4879-9507-D86EB963BA4F}"/>
                  </a:ext>
                </a:extLst>
              </p:cNvPr>
              <p:cNvSpPr/>
              <p:nvPr/>
            </p:nvSpPr>
            <p:spPr>
              <a:xfrm>
                <a:off x="3597580" y="1121118"/>
                <a:ext cx="658967" cy="720746"/>
              </a:xfrm>
              <a:custGeom>
                <a:avLst/>
                <a:gdLst>
                  <a:gd name="connsiteX0" fmla="*/ 230981 w 304800"/>
                  <a:gd name="connsiteY0" fmla="*/ 290036 h 333375"/>
                  <a:gd name="connsiteX1" fmla="*/ 215741 w 304800"/>
                  <a:gd name="connsiteY1" fmla="*/ 250984 h 333375"/>
                  <a:gd name="connsiteX2" fmla="*/ 88106 w 304800"/>
                  <a:gd name="connsiteY2" fmla="*/ 250984 h 333375"/>
                  <a:gd name="connsiteX3" fmla="*/ 72866 w 304800"/>
                  <a:gd name="connsiteY3" fmla="*/ 290989 h 333375"/>
                  <a:gd name="connsiteX4" fmla="*/ 57626 w 304800"/>
                  <a:gd name="connsiteY4" fmla="*/ 322421 h 333375"/>
                  <a:gd name="connsiteX5" fmla="*/ 37624 w 304800"/>
                  <a:gd name="connsiteY5" fmla="*/ 330994 h 333375"/>
                  <a:gd name="connsiteX6" fmla="*/ 16669 w 304800"/>
                  <a:gd name="connsiteY6" fmla="*/ 322421 h 333375"/>
                  <a:gd name="connsiteX7" fmla="*/ 7144 w 304800"/>
                  <a:gd name="connsiteY7" fmla="*/ 302419 h 333375"/>
                  <a:gd name="connsiteX8" fmla="*/ 9049 w 304800"/>
                  <a:gd name="connsiteY8" fmla="*/ 289084 h 333375"/>
                  <a:gd name="connsiteX9" fmla="*/ 15716 w 304800"/>
                  <a:gd name="connsiteY9" fmla="*/ 270034 h 333375"/>
                  <a:gd name="connsiteX10" fmla="*/ 95726 w 304800"/>
                  <a:gd name="connsiteY10" fmla="*/ 66199 h 333375"/>
                  <a:gd name="connsiteX11" fmla="*/ 104299 w 304800"/>
                  <a:gd name="connsiteY11" fmla="*/ 45244 h 333375"/>
                  <a:gd name="connsiteX12" fmla="*/ 114776 w 304800"/>
                  <a:gd name="connsiteY12" fmla="*/ 25241 h 333375"/>
                  <a:gd name="connsiteX13" fmla="*/ 129064 w 304800"/>
                  <a:gd name="connsiteY13" fmla="*/ 11906 h 333375"/>
                  <a:gd name="connsiteX14" fmla="*/ 150971 w 304800"/>
                  <a:gd name="connsiteY14" fmla="*/ 7144 h 333375"/>
                  <a:gd name="connsiteX15" fmla="*/ 172879 w 304800"/>
                  <a:gd name="connsiteY15" fmla="*/ 11906 h 333375"/>
                  <a:gd name="connsiteX16" fmla="*/ 187166 w 304800"/>
                  <a:gd name="connsiteY16" fmla="*/ 25241 h 333375"/>
                  <a:gd name="connsiteX17" fmla="*/ 196691 w 304800"/>
                  <a:gd name="connsiteY17" fmla="*/ 42386 h 333375"/>
                  <a:gd name="connsiteX18" fmla="*/ 206216 w 304800"/>
                  <a:gd name="connsiteY18" fmla="*/ 67151 h 333375"/>
                  <a:gd name="connsiteX19" fmla="*/ 288131 w 304800"/>
                  <a:gd name="connsiteY19" fmla="*/ 270034 h 333375"/>
                  <a:gd name="connsiteX20" fmla="*/ 297656 w 304800"/>
                  <a:gd name="connsiteY20" fmla="*/ 303371 h 333375"/>
                  <a:gd name="connsiteX21" fmla="*/ 288131 w 304800"/>
                  <a:gd name="connsiteY21" fmla="*/ 323374 h 333375"/>
                  <a:gd name="connsiteX22" fmla="*/ 266224 w 304800"/>
                  <a:gd name="connsiteY22" fmla="*/ 332899 h 333375"/>
                  <a:gd name="connsiteX23" fmla="*/ 253841 w 304800"/>
                  <a:gd name="connsiteY23" fmla="*/ 330041 h 333375"/>
                  <a:gd name="connsiteX24" fmla="*/ 245269 w 304800"/>
                  <a:gd name="connsiteY24" fmla="*/ 322421 h 333375"/>
                  <a:gd name="connsiteX25" fmla="*/ 237649 w 304800"/>
                  <a:gd name="connsiteY25" fmla="*/ 308134 h 333375"/>
                  <a:gd name="connsiteX26" fmla="*/ 230981 w 304800"/>
                  <a:gd name="connsiteY26" fmla="*/ 290036 h 333375"/>
                  <a:gd name="connsiteX27" fmla="*/ 104299 w 304800"/>
                  <a:gd name="connsiteY27" fmla="*/ 203359 h 333375"/>
                  <a:gd name="connsiteX28" fmla="*/ 197644 w 304800"/>
                  <a:gd name="connsiteY28" fmla="*/ 203359 h 333375"/>
                  <a:gd name="connsiteX29" fmla="*/ 150019 w 304800"/>
                  <a:gd name="connsiteY29" fmla="*/ 73819 h 333375"/>
                  <a:gd name="connsiteX30" fmla="*/ 104299 w 304800"/>
                  <a:gd name="connsiteY30" fmla="*/ 20335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4800" h="333375">
                    <a:moveTo>
                      <a:pt x="230981" y="290036"/>
                    </a:moveTo>
                    <a:lnTo>
                      <a:pt x="215741" y="250984"/>
                    </a:lnTo>
                    <a:lnTo>
                      <a:pt x="88106" y="250984"/>
                    </a:lnTo>
                    <a:lnTo>
                      <a:pt x="72866" y="290989"/>
                    </a:lnTo>
                    <a:cubicBezTo>
                      <a:pt x="67151" y="306229"/>
                      <a:pt x="62389" y="317659"/>
                      <a:pt x="57626" y="322421"/>
                    </a:cubicBezTo>
                    <a:cubicBezTo>
                      <a:pt x="52864" y="327184"/>
                      <a:pt x="47149" y="330994"/>
                      <a:pt x="37624" y="330994"/>
                    </a:cubicBezTo>
                    <a:cubicBezTo>
                      <a:pt x="30004" y="330994"/>
                      <a:pt x="22384" y="328136"/>
                      <a:pt x="16669" y="322421"/>
                    </a:cubicBezTo>
                    <a:cubicBezTo>
                      <a:pt x="10954" y="316706"/>
                      <a:pt x="7144" y="310039"/>
                      <a:pt x="7144" y="302419"/>
                    </a:cubicBezTo>
                    <a:cubicBezTo>
                      <a:pt x="7144" y="297656"/>
                      <a:pt x="8096" y="293846"/>
                      <a:pt x="9049" y="289084"/>
                    </a:cubicBezTo>
                    <a:cubicBezTo>
                      <a:pt x="10001" y="284321"/>
                      <a:pt x="12859" y="278606"/>
                      <a:pt x="15716" y="270034"/>
                    </a:cubicBezTo>
                    <a:lnTo>
                      <a:pt x="95726" y="66199"/>
                    </a:lnTo>
                    <a:cubicBezTo>
                      <a:pt x="97631" y="60484"/>
                      <a:pt x="100489" y="52864"/>
                      <a:pt x="104299" y="45244"/>
                    </a:cubicBezTo>
                    <a:cubicBezTo>
                      <a:pt x="107156" y="36671"/>
                      <a:pt x="110966" y="30004"/>
                      <a:pt x="114776" y="25241"/>
                    </a:cubicBezTo>
                    <a:cubicBezTo>
                      <a:pt x="118586" y="19526"/>
                      <a:pt x="123349" y="15716"/>
                      <a:pt x="129064" y="11906"/>
                    </a:cubicBezTo>
                    <a:cubicBezTo>
                      <a:pt x="134779" y="8096"/>
                      <a:pt x="142399" y="7144"/>
                      <a:pt x="150971" y="7144"/>
                    </a:cubicBezTo>
                    <a:cubicBezTo>
                      <a:pt x="159544" y="7144"/>
                      <a:pt x="167164" y="9049"/>
                      <a:pt x="172879" y="11906"/>
                    </a:cubicBezTo>
                    <a:cubicBezTo>
                      <a:pt x="178594" y="15716"/>
                      <a:pt x="183356" y="19526"/>
                      <a:pt x="187166" y="25241"/>
                    </a:cubicBezTo>
                    <a:cubicBezTo>
                      <a:pt x="190976" y="30956"/>
                      <a:pt x="193834" y="36671"/>
                      <a:pt x="196691" y="42386"/>
                    </a:cubicBezTo>
                    <a:cubicBezTo>
                      <a:pt x="199549" y="48101"/>
                      <a:pt x="202406" y="56674"/>
                      <a:pt x="206216" y="67151"/>
                    </a:cubicBezTo>
                    <a:lnTo>
                      <a:pt x="288131" y="270034"/>
                    </a:lnTo>
                    <a:cubicBezTo>
                      <a:pt x="294799" y="285274"/>
                      <a:pt x="297656" y="296704"/>
                      <a:pt x="297656" y="303371"/>
                    </a:cubicBezTo>
                    <a:cubicBezTo>
                      <a:pt x="297656" y="310991"/>
                      <a:pt x="294799" y="317659"/>
                      <a:pt x="288131" y="323374"/>
                    </a:cubicBezTo>
                    <a:cubicBezTo>
                      <a:pt x="282416" y="329089"/>
                      <a:pt x="274796" y="332899"/>
                      <a:pt x="266224" y="332899"/>
                    </a:cubicBezTo>
                    <a:cubicBezTo>
                      <a:pt x="261461" y="332899"/>
                      <a:pt x="256699" y="331946"/>
                      <a:pt x="253841" y="330041"/>
                    </a:cubicBezTo>
                    <a:cubicBezTo>
                      <a:pt x="250031" y="328136"/>
                      <a:pt x="247174" y="326231"/>
                      <a:pt x="245269" y="322421"/>
                    </a:cubicBezTo>
                    <a:cubicBezTo>
                      <a:pt x="242411" y="319564"/>
                      <a:pt x="240506" y="314801"/>
                      <a:pt x="237649" y="308134"/>
                    </a:cubicBezTo>
                    <a:cubicBezTo>
                      <a:pt x="234791" y="301466"/>
                      <a:pt x="232886" y="294799"/>
                      <a:pt x="230981" y="290036"/>
                    </a:cubicBezTo>
                    <a:close/>
                    <a:moveTo>
                      <a:pt x="104299" y="203359"/>
                    </a:moveTo>
                    <a:lnTo>
                      <a:pt x="197644" y="203359"/>
                    </a:lnTo>
                    <a:lnTo>
                      <a:pt x="150019" y="73819"/>
                    </a:lnTo>
                    <a:lnTo>
                      <a:pt x="104299" y="203359"/>
                    </a:lnTo>
                    <a:close/>
                  </a:path>
                </a:pathLst>
              </a:custGeom>
              <a:solidFill>
                <a:srgbClr val="FFFFFF"/>
              </a:solidFill>
              <a:ln w="9525"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B47241B8-A751-45F4-8A5A-4126A44FB572}"/>
                  </a:ext>
                </a:extLst>
              </p:cNvPr>
              <p:cNvSpPr/>
              <p:nvPr/>
            </p:nvSpPr>
            <p:spPr>
              <a:xfrm>
                <a:off x="4330680" y="1133474"/>
                <a:ext cx="535411" cy="700153"/>
              </a:xfrm>
              <a:custGeom>
                <a:avLst/>
                <a:gdLst>
                  <a:gd name="connsiteX0" fmla="*/ 128111 w 247650"/>
                  <a:gd name="connsiteY0" fmla="*/ 197644 h 323850"/>
                  <a:gd name="connsiteX1" fmla="*/ 70009 w 247650"/>
                  <a:gd name="connsiteY1" fmla="*/ 197644 h 323850"/>
                  <a:gd name="connsiteX2" fmla="*/ 70009 w 247650"/>
                  <a:gd name="connsiteY2" fmla="*/ 286226 h 323850"/>
                  <a:gd name="connsiteX3" fmla="*/ 61436 w 247650"/>
                  <a:gd name="connsiteY3" fmla="*/ 314801 h 323850"/>
                  <a:gd name="connsiteX4" fmla="*/ 38576 w 247650"/>
                  <a:gd name="connsiteY4" fmla="*/ 324326 h 323850"/>
                  <a:gd name="connsiteX5" fmla="*/ 15716 w 247650"/>
                  <a:gd name="connsiteY5" fmla="*/ 314801 h 323850"/>
                  <a:gd name="connsiteX6" fmla="*/ 7144 w 247650"/>
                  <a:gd name="connsiteY6" fmla="*/ 286226 h 323850"/>
                  <a:gd name="connsiteX7" fmla="*/ 7144 w 247650"/>
                  <a:gd name="connsiteY7" fmla="*/ 45244 h 323850"/>
                  <a:gd name="connsiteX8" fmla="*/ 16669 w 247650"/>
                  <a:gd name="connsiteY8" fmla="*/ 15716 h 323850"/>
                  <a:gd name="connsiteX9" fmla="*/ 47149 w 247650"/>
                  <a:gd name="connsiteY9" fmla="*/ 7144 h 323850"/>
                  <a:gd name="connsiteX10" fmla="*/ 129064 w 247650"/>
                  <a:gd name="connsiteY10" fmla="*/ 7144 h 323850"/>
                  <a:gd name="connsiteX11" fmla="*/ 184309 w 247650"/>
                  <a:gd name="connsiteY11" fmla="*/ 12859 h 323850"/>
                  <a:gd name="connsiteX12" fmla="*/ 217646 w 247650"/>
                  <a:gd name="connsiteY12" fmla="*/ 30956 h 323850"/>
                  <a:gd name="connsiteX13" fmla="*/ 238601 w 247650"/>
                  <a:gd name="connsiteY13" fmla="*/ 61436 h 323850"/>
                  <a:gd name="connsiteX14" fmla="*/ 246221 w 247650"/>
                  <a:gd name="connsiteY14" fmla="*/ 101441 h 323850"/>
                  <a:gd name="connsiteX15" fmla="*/ 216694 w 247650"/>
                  <a:gd name="connsiteY15" fmla="*/ 173831 h 323850"/>
                  <a:gd name="connsiteX16" fmla="*/ 128111 w 247650"/>
                  <a:gd name="connsiteY16" fmla="*/ 197644 h 323850"/>
                  <a:gd name="connsiteX17" fmla="*/ 112871 w 247650"/>
                  <a:gd name="connsiteY17" fmla="*/ 53816 h 323850"/>
                  <a:gd name="connsiteX18" fmla="*/ 70009 w 247650"/>
                  <a:gd name="connsiteY18" fmla="*/ 53816 h 323850"/>
                  <a:gd name="connsiteX19" fmla="*/ 70009 w 247650"/>
                  <a:gd name="connsiteY19" fmla="*/ 150019 h 323850"/>
                  <a:gd name="connsiteX20" fmla="*/ 112871 w 247650"/>
                  <a:gd name="connsiteY20" fmla="*/ 150019 h 323850"/>
                  <a:gd name="connsiteX21" fmla="*/ 150019 w 247650"/>
                  <a:gd name="connsiteY21" fmla="*/ 145256 h 323850"/>
                  <a:gd name="connsiteX22" fmla="*/ 172879 w 247650"/>
                  <a:gd name="connsiteY22" fmla="*/ 130016 h 323850"/>
                  <a:gd name="connsiteX23" fmla="*/ 180499 w 247650"/>
                  <a:gd name="connsiteY23" fmla="*/ 102394 h 323850"/>
                  <a:gd name="connsiteX24" fmla="*/ 168116 w 247650"/>
                  <a:gd name="connsiteY24" fmla="*/ 68104 h 323850"/>
                  <a:gd name="connsiteX25" fmla="*/ 112871 w 247650"/>
                  <a:gd name="connsiteY25" fmla="*/ 53816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7650" h="323850">
                    <a:moveTo>
                      <a:pt x="128111" y="197644"/>
                    </a:moveTo>
                    <a:lnTo>
                      <a:pt x="70009" y="197644"/>
                    </a:lnTo>
                    <a:lnTo>
                      <a:pt x="70009" y="286226"/>
                    </a:lnTo>
                    <a:cubicBezTo>
                      <a:pt x="70009" y="298609"/>
                      <a:pt x="67151" y="308134"/>
                      <a:pt x="61436" y="314801"/>
                    </a:cubicBezTo>
                    <a:cubicBezTo>
                      <a:pt x="55721" y="321469"/>
                      <a:pt x="48101" y="324326"/>
                      <a:pt x="38576" y="324326"/>
                    </a:cubicBezTo>
                    <a:cubicBezTo>
                      <a:pt x="29051" y="324326"/>
                      <a:pt x="21431" y="321469"/>
                      <a:pt x="15716" y="314801"/>
                    </a:cubicBezTo>
                    <a:cubicBezTo>
                      <a:pt x="10001" y="308134"/>
                      <a:pt x="7144" y="298609"/>
                      <a:pt x="7144" y="286226"/>
                    </a:cubicBezTo>
                    <a:lnTo>
                      <a:pt x="7144" y="45244"/>
                    </a:lnTo>
                    <a:cubicBezTo>
                      <a:pt x="7144" y="30956"/>
                      <a:pt x="10001" y="21431"/>
                      <a:pt x="16669" y="15716"/>
                    </a:cubicBezTo>
                    <a:cubicBezTo>
                      <a:pt x="23336" y="10001"/>
                      <a:pt x="32861" y="7144"/>
                      <a:pt x="47149" y="7144"/>
                    </a:cubicBezTo>
                    <a:lnTo>
                      <a:pt x="129064" y="7144"/>
                    </a:lnTo>
                    <a:cubicBezTo>
                      <a:pt x="152876" y="7144"/>
                      <a:pt x="171926" y="9049"/>
                      <a:pt x="184309" y="12859"/>
                    </a:cubicBezTo>
                    <a:cubicBezTo>
                      <a:pt x="196691" y="16669"/>
                      <a:pt x="208121" y="22384"/>
                      <a:pt x="217646" y="30956"/>
                    </a:cubicBezTo>
                    <a:cubicBezTo>
                      <a:pt x="227171" y="39529"/>
                      <a:pt x="233839" y="49054"/>
                      <a:pt x="238601" y="61436"/>
                    </a:cubicBezTo>
                    <a:cubicBezTo>
                      <a:pt x="243364" y="73819"/>
                      <a:pt x="246221" y="87154"/>
                      <a:pt x="246221" y="101441"/>
                    </a:cubicBezTo>
                    <a:cubicBezTo>
                      <a:pt x="246221" y="133826"/>
                      <a:pt x="236696" y="157639"/>
                      <a:pt x="216694" y="173831"/>
                    </a:cubicBezTo>
                    <a:cubicBezTo>
                      <a:pt x="196691" y="190024"/>
                      <a:pt x="167164" y="197644"/>
                      <a:pt x="128111" y="197644"/>
                    </a:cubicBezTo>
                    <a:close/>
                    <a:moveTo>
                      <a:pt x="112871" y="53816"/>
                    </a:moveTo>
                    <a:lnTo>
                      <a:pt x="70009" y="53816"/>
                    </a:lnTo>
                    <a:lnTo>
                      <a:pt x="70009" y="150019"/>
                    </a:lnTo>
                    <a:lnTo>
                      <a:pt x="112871" y="150019"/>
                    </a:lnTo>
                    <a:cubicBezTo>
                      <a:pt x="128111" y="150019"/>
                      <a:pt x="140494" y="148114"/>
                      <a:pt x="150019" y="145256"/>
                    </a:cubicBezTo>
                    <a:cubicBezTo>
                      <a:pt x="160496" y="142399"/>
                      <a:pt x="168116" y="136684"/>
                      <a:pt x="172879" y="130016"/>
                    </a:cubicBezTo>
                    <a:cubicBezTo>
                      <a:pt x="178594" y="123349"/>
                      <a:pt x="180499" y="113824"/>
                      <a:pt x="180499" y="102394"/>
                    </a:cubicBezTo>
                    <a:cubicBezTo>
                      <a:pt x="180499" y="88106"/>
                      <a:pt x="176689" y="77629"/>
                      <a:pt x="168116" y="68104"/>
                    </a:cubicBezTo>
                    <a:cubicBezTo>
                      <a:pt x="159544" y="58579"/>
                      <a:pt x="141446" y="53816"/>
                      <a:pt x="112871" y="53816"/>
                    </a:cubicBezTo>
                    <a:close/>
                  </a:path>
                </a:pathLst>
              </a:custGeom>
              <a:solidFill>
                <a:srgbClr val="FFFFFF"/>
              </a:solid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D28D96C1-A450-4A63-9D8D-A17A060D091A}"/>
                  </a:ext>
                </a:extLst>
              </p:cNvPr>
              <p:cNvSpPr/>
              <p:nvPr/>
            </p:nvSpPr>
            <p:spPr>
              <a:xfrm>
                <a:off x="4960817" y="1131415"/>
                <a:ext cx="576596" cy="720746"/>
              </a:xfrm>
              <a:custGeom>
                <a:avLst/>
                <a:gdLst>
                  <a:gd name="connsiteX0" fmla="*/ 92869 w 266700"/>
                  <a:gd name="connsiteY0" fmla="*/ 187166 h 333375"/>
                  <a:gd name="connsiteX1" fmla="*/ 70961 w 266700"/>
                  <a:gd name="connsiteY1" fmla="*/ 187166 h 333375"/>
                  <a:gd name="connsiteX2" fmla="*/ 70961 w 266700"/>
                  <a:gd name="connsiteY2" fmla="*/ 288131 h 333375"/>
                  <a:gd name="connsiteX3" fmla="*/ 62389 w 266700"/>
                  <a:gd name="connsiteY3" fmla="*/ 317659 h 333375"/>
                  <a:gd name="connsiteX4" fmla="*/ 39529 w 266700"/>
                  <a:gd name="connsiteY4" fmla="*/ 327184 h 333375"/>
                  <a:gd name="connsiteX5" fmla="*/ 15716 w 266700"/>
                  <a:gd name="connsiteY5" fmla="*/ 317659 h 333375"/>
                  <a:gd name="connsiteX6" fmla="*/ 7144 w 266700"/>
                  <a:gd name="connsiteY6" fmla="*/ 289084 h 333375"/>
                  <a:gd name="connsiteX7" fmla="*/ 7144 w 266700"/>
                  <a:gd name="connsiteY7" fmla="*/ 46196 h 333375"/>
                  <a:gd name="connsiteX8" fmla="*/ 16669 w 266700"/>
                  <a:gd name="connsiteY8" fmla="*/ 16669 h 333375"/>
                  <a:gd name="connsiteX9" fmla="*/ 46196 w 266700"/>
                  <a:gd name="connsiteY9" fmla="*/ 7144 h 333375"/>
                  <a:gd name="connsiteX10" fmla="*/ 150019 w 266700"/>
                  <a:gd name="connsiteY10" fmla="*/ 7144 h 333375"/>
                  <a:gd name="connsiteX11" fmla="*/ 186214 w 266700"/>
                  <a:gd name="connsiteY11" fmla="*/ 9049 h 333375"/>
                  <a:gd name="connsiteX12" fmla="*/ 213836 w 266700"/>
                  <a:gd name="connsiteY12" fmla="*/ 16669 h 333375"/>
                  <a:gd name="connsiteX13" fmla="*/ 239554 w 266700"/>
                  <a:gd name="connsiteY13" fmla="*/ 34766 h 333375"/>
                  <a:gd name="connsiteX14" fmla="*/ 256699 w 266700"/>
                  <a:gd name="connsiteY14" fmla="*/ 61436 h 333375"/>
                  <a:gd name="connsiteX15" fmla="*/ 262414 w 266700"/>
                  <a:gd name="connsiteY15" fmla="*/ 93821 h 333375"/>
                  <a:gd name="connsiteX16" fmla="*/ 242411 w 266700"/>
                  <a:gd name="connsiteY16" fmla="*/ 150019 h 333375"/>
                  <a:gd name="connsiteX17" fmla="*/ 182404 w 266700"/>
                  <a:gd name="connsiteY17" fmla="*/ 179546 h 333375"/>
                  <a:gd name="connsiteX18" fmla="*/ 214789 w 266700"/>
                  <a:gd name="connsiteY18" fmla="*/ 206216 h 333375"/>
                  <a:gd name="connsiteX19" fmla="*/ 242411 w 266700"/>
                  <a:gd name="connsiteY19" fmla="*/ 243364 h 333375"/>
                  <a:gd name="connsiteX20" fmla="*/ 261461 w 266700"/>
                  <a:gd name="connsiteY20" fmla="*/ 279559 h 333375"/>
                  <a:gd name="connsiteX21" fmla="*/ 268129 w 266700"/>
                  <a:gd name="connsiteY21" fmla="*/ 301466 h 333375"/>
                  <a:gd name="connsiteX22" fmla="*/ 264319 w 266700"/>
                  <a:gd name="connsiteY22" fmla="*/ 313849 h 333375"/>
                  <a:gd name="connsiteX23" fmla="*/ 253841 w 266700"/>
                  <a:gd name="connsiteY23" fmla="*/ 323374 h 333375"/>
                  <a:gd name="connsiteX24" fmla="*/ 237649 w 266700"/>
                  <a:gd name="connsiteY24" fmla="*/ 327184 h 333375"/>
                  <a:gd name="connsiteX25" fmla="*/ 219551 w 266700"/>
                  <a:gd name="connsiteY25" fmla="*/ 322421 h 333375"/>
                  <a:gd name="connsiteX26" fmla="*/ 207169 w 266700"/>
                  <a:gd name="connsiteY26" fmla="*/ 310039 h 333375"/>
                  <a:gd name="connsiteX27" fmla="*/ 192881 w 266700"/>
                  <a:gd name="connsiteY27" fmla="*/ 287179 h 333375"/>
                  <a:gd name="connsiteX28" fmla="*/ 167164 w 266700"/>
                  <a:gd name="connsiteY28" fmla="*/ 244316 h 333375"/>
                  <a:gd name="connsiteX29" fmla="*/ 142399 w 266700"/>
                  <a:gd name="connsiteY29" fmla="*/ 209074 h 333375"/>
                  <a:gd name="connsiteX30" fmla="*/ 120491 w 266700"/>
                  <a:gd name="connsiteY30" fmla="*/ 191929 h 333375"/>
                  <a:gd name="connsiteX31" fmla="*/ 92869 w 266700"/>
                  <a:gd name="connsiteY31" fmla="*/ 187166 h 333375"/>
                  <a:gd name="connsiteX32" fmla="*/ 129064 w 266700"/>
                  <a:gd name="connsiteY32" fmla="*/ 54769 h 333375"/>
                  <a:gd name="connsiteX33" fmla="*/ 70009 w 266700"/>
                  <a:gd name="connsiteY33" fmla="*/ 54769 h 333375"/>
                  <a:gd name="connsiteX34" fmla="*/ 70009 w 266700"/>
                  <a:gd name="connsiteY34" fmla="*/ 141446 h 333375"/>
                  <a:gd name="connsiteX35" fmla="*/ 127159 w 266700"/>
                  <a:gd name="connsiteY35" fmla="*/ 141446 h 333375"/>
                  <a:gd name="connsiteX36" fmla="*/ 165259 w 266700"/>
                  <a:gd name="connsiteY36" fmla="*/ 137636 h 333375"/>
                  <a:gd name="connsiteX37" fmla="*/ 189071 w 266700"/>
                  <a:gd name="connsiteY37" fmla="*/ 124301 h 333375"/>
                  <a:gd name="connsiteX38" fmla="*/ 197644 w 266700"/>
                  <a:gd name="connsiteY38" fmla="*/ 97631 h 333375"/>
                  <a:gd name="connsiteX39" fmla="*/ 190976 w 266700"/>
                  <a:gd name="connsiteY39" fmla="*/ 74771 h 333375"/>
                  <a:gd name="connsiteX40" fmla="*/ 172879 w 266700"/>
                  <a:gd name="connsiteY40" fmla="*/ 59531 h 333375"/>
                  <a:gd name="connsiteX41" fmla="*/ 129064 w 266700"/>
                  <a:gd name="connsiteY41" fmla="*/ 5476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66700" h="333375">
                    <a:moveTo>
                      <a:pt x="92869" y="187166"/>
                    </a:moveTo>
                    <a:lnTo>
                      <a:pt x="70961" y="187166"/>
                    </a:lnTo>
                    <a:lnTo>
                      <a:pt x="70961" y="288131"/>
                    </a:lnTo>
                    <a:cubicBezTo>
                      <a:pt x="70961" y="301466"/>
                      <a:pt x="68104" y="310991"/>
                      <a:pt x="62389" y="317659"/>
                    </a:cubicBezTo>
                    <a:cubicBezTo>
                      <a:pt x="56674" y="324326"/>
                      <a:pt x="49054" y="327184"/>
                      <a:pt x="39529" y="327184"/>
                    </a:cubicBezTo>
                    <a:cubicBezTo>
                      <a:pt x="29051" y="327184"/>
                      <a:pt x="21431" y="324326"/>
                      <a:pt x="15716" y="317659"/>
                    </a:cubicBezTo>
                    <a:cubicBezTo>
                      <a:pt x="10001" y="310991"/>
                      <a:pt x="7144" y="301466"/>
                      <a:pt x="7144" y="289084"/>
                    </a:cubicBezTo>
                    <a:lnTo>
                      <a:pt x="7144" y="46196"/>
                    </a:lnTo>
                    <a:cubicBezTo>
                      <a:pt x="7144" y="32861"/>
                      <a:pt x="10001" y="22384"/>
                      <a:pt x="16669" y="16669"/>
                    </a:cubicBezTo>
                    <a:cubicBezTo>
                      <a:pt x="22384" y="10954"/>
                      <a:pt x="32861" y="7144"/>
                      <a:pt x="46196" y="7144"/>
                    </a:cubicBezTo>
                    <a:lnTo>
                      <a:pt x="150019" y="7144"/>
                    </a:lnTo>
                    <a:cubicBezTo>
                      <a:pt x="164306" y="7144"/>
                      <a:pt x="176689" y="8096"/>
                      <a:pt x="186214" y="9049"/>
                    </a:cubicBezTo>
                    <a:cubicBezTo>
                      <a:pt x="196691" y="10001"/>
                      <a:pt x="205264" y="12859"/>
                      <a:pt x="213836" y="16669"/>
                    </a:cubicBezTo>
                    <a:cubicBezTo>
                      <a:pt x="223361" y="20479"/>
                      <a:pt x="231934" y="27146"/>
                      <a:pt x="239554" y="34766"/>
                    </a:cubicBezTo>
                    <a:cubicBezTo>
                      <a:pt x="247174" y="42386"/>
                      <a:pt x="252889" y="51911"/>
                      <a:pt x="256699" y="61436"/>
                    </a:cubicBezTo>
                    <a:cubicBezTo>
                      <a:pt x="260509" y="71914"/>
                      <a:pt x="262414" y="82391"/>
                      <a:pt x="262414" y="93821"/>
                    </a:cubicBezTo>
                    <a:cubicBezTo>
                      <a:pt x="262414" y="117634"/>
                      <a:pt x="255746" y="135731"/>
                      <a:pt x="242411" y="150019"/>
                    </a:cubicBezTo>
                    <a:cubicBezTo>
                      <a:pt x="229076" y="164306"/>
                      <a:pt x="209074" y="173831"/>
                      <a:pt x="182404" y="179546"/>
                    </a:cubicBezTo>
                    <a:cubicBezTo>
                      <a:pt x="193834" y="185261"/>
                      <a:pt x="204311" y="194786"/>
                      <a:pt x="214789" y="206216"/>
                    </a:cubicBezTo>
                    <a:cubicBezTo>
                      <a:pt x="225266" y="217646"/>
                      <a:pt x="233839" y="230029"/>
                      <a:pt x="242411" y="243364"/>
                    </a:cubicBezTo>
                    <a:cubicBezTo>
                      <a:pt x="250031" y="256699"/>
                      <a:pt x="256699" y="268129"/>
                      <a:pt x="261461" y="279559"/>
                    </a:cubicBezTo>
                    <a:cubicBezTo>
                      <a:pt x="266224" y="290036"/>
                      <a:pt x="268129" y="297656"/>
                      <a:pt x="268129" y="301466"/>
                    </a:cubicBezTo>
                    <a:cubicBezTo>
                      <a:pt x="268129" y="305276"/>
                      <a:pt x="267176" y="310039"/>
                      <a:pt x="264319" y="313849"/>
                    </a:cubicBezTo>
                    <a:cubicBezTo>
                      <a:pt x="261461" y="317659"/>
                      <a:pt x="257651" y="321469"/>
                      <a:pt x="253841" y="323374"/>
                    </a:cubicBezTo>
                    <a:cubicBezTo>
                      <a:pt x="249079" y="325279"/>
                      <a:pt x="244316" y="327184"/>
                      <a:pt x="237649" y="327184"/>
                    </a:cubicBezTo>
                    <a:cubicBezTo>
                      <a:pt x="230981" y="327184"/>
                      <a:pt x="224314" y="325279"/>
                      <a:pt x="219551" y="322421"/>
                    </a:cubicBezTo>
                    <a:cubicBezTo>
                      <a:pt x="214789" y="318611"/>
                      <a:pt x="210979" y="314801"/>
                      <a:pt x="207169" y="310039"/>
                    </a:cubicBezTo>
                    <a:cubicBezTo>
                      <a:pt x="203359" y="305276"/>
                      <a:pt x="198596" y="297656"/>
                      <a:pt x="192881" y="287179"/>
                    </a:cubicBezTo>
                    <a:lnTo>
                      <a:pt x="167164" y="244316"/>
                    </a:lnTo>
                    <a:cubicBezTo>
                      <a:pt x="157639" y="229076"/>
                      <a:pt x="150019" y="216694"/>
                      <a:pt x="142399" y="209074"/>
                    </a:cubicBezTo>
                    <a:cubicBezTo>
                      <a:pt x="134779" y="200501"/>
                      <a:pt x="128111" y="195739"/>
                      <a:pt x="120491" y="191929"/>
                    </a:cubicBezTo>
                    <a:cubicBezTo>
                      <a:pt x="113824" y="188119"/>
                      <a:pt x="104299" y="187166"/>
                      <a:pt x="92869" y="187166"/>
                    </a:cubicBezTo>
                    <a:close/>
                    <a:moveTo>
                      <a:pt x="129064" y="54769"/>
                    </a:moveTo>
                    <a:lnTo>
                      <a:pt x="70009" y="54769"/>
                    </a:lnTo>
                    <a:lnTo>
                      <a:pt x="70009" y="141446"/>
                    </a:lnTo>
                    <a:lnTo>
                      <a:pt x="127159" y="141446"/>
                    </a:lnTo>
                    <a:cubicBezTo>
                      <a:pt x="142399" y="141446"/>
                      <a:pt x="155734" y="140494"/>
                      <a:pt x="165259" y="137636"/>
                    </a:cubicBezTo>
                    <a:cubicBezTo>
                      <a:pt x="174784" y="134779"/>
                      <a:pt x="183356" y="130016"/>
                      <a:pt x="189071" y="124301"/>
                    </a:cubicBezTo>
                    <a:cubicBezTo>
                      <a:pt x="194786" y="117634"/>
                      <a:pt x="197644" y="109061"/>
                      <a:pt x="197644" y="97631"/>
                    </a:cubicBezTo>
                    <a:cubicBezTo>
                      <a:pt x="197644" y="89059"/>
                      <a:pt x="195739" y="81439"/>
                      <a:pt x="190976" y="74771"/>
                    </a:cubicBezTo>
                    <a:cubicBezTo>
                      <a:pt x="186214" y="68104"/>
                      <a:pt x="180499" y="63341"/>
                      <a:pt x="172879" y="59531"/>
                    </a:cubicBezTo>
                    <a:cubicBezTo>
                      <a:pt x="165259" y="56674"/>
                      <a:pt x="150971" y="54769"/>
                      <a:pt x="129064" y="54769"/>
                    </a:cubicBezTo>
                    <a:close/>
                  </a:path>
                </a:pathLst>
              </a:custGeom>
              <a:solidFill>
                <a:srgbClr val="FFFFFF"/>
              </a:solid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C83A06F4-3F8E-48FC-8E65-D234EDDD65E4}"/>
                  </a:ext>
                </a:extLst>
              </p:cNvPr>
              <p:cNvSpPr/>
              <p:nvPr/>
            </p:nvSpPr>
            <p:spPr>
              <a:xfrm>
                <a:off x="5533295" y="1131415"/>
                <a:ext cx="597189" cy="720746"/>
              </a:xfrm>
              <a:custGeom>
                <a:avLst/>
                <a:gdLst>
                  <a:gd name="connsiteX0" fmla="*/ 240506 w 276225"/>
                  <a:gd name="connsiteY0" fmla="*/ 59531 h 333375"/>
                  <a:gd name="connsiteX1" fmla="*/ 170974 w 276225"/>
                  <a:gd name="connsiteY1" fmla="*/ 59531 h 333375"/>
                  <a:gd name="connsiteX2" fmla="*/ 170974 w 276225"/>
                  <a:gd name="connsiteY2" fmla="*/ 288131 h 333375"/>
                  <a:gd name="connsiteX3" fmla="*/ 162401 w 276225"/>
                  <a:gd name="connsiteY3" fmla="*/ 317659 h 333375"/>
                  <a:gd name="connsiteX4" fmla="*/ 139541 w 276225"/>
                  <a:gd name="connsiteY4" fmla="*/ 327184 h 333375"/>
                  <a:gd name="connsiteX5" fmla="*/ 116681 w 276225"/>
                  <a:gd name="connsiteY5" fmla="*/ 317659 h 333375"/>
                  <a:gd name="connsiteX6" fmla="*/ 108109 w 276225"/>
                  <a:gd name="connsiteY6" fmla="*/ 288131 h 333375"/>
                  <a:gd name="connsiteX7" fmla="*/ 108109 w 276225"/>
                  <a:gd name="connsiteY7" fmla="*/ 59531 h 333375"/>
                  <a:gd name="connsiteX8" fmla="*/ 38576 w 276225"/>
                  <a:gd name="connsiteY8" fmla="*/ 59531 h 333375"/>
                  <a:gd name="connsiteX9" fmla="*/ 14764 w 276225"/>
                  <a:gd name="connsiteY9" fmla="*/ 51911 h 333375"/>
                  <a:gd name="connsiteX10" fmla="*/ 7144 w 276225"/>
                  <a:gd name="connsiteY10" fmla="*/ 32861 h 333375"/>
                  <a:gd name="connsiteX11" fmla="*/ 15716 w 276225"/>
                  <a:gd name="connsiteY11" fmla="*/ 13811 h 333375"/>
                  <a:gd name="connsiteX12" fmla="*/ 39529 w 276225"/>
                  <a:gd name="connsiteY12" fmla="*/ 7144 h 333375"/>
                  <a:gd name="connsiteX13" fmla="*/ 241459 w 276225"/>
                  <a:gd name="connsiteY13" fmla="*/ 7144 h 333375"/>
                  <a:gd name="connsiteX14" fmla="*/ 266224 w 276225"/>
                  <a:gd name="connsiteY14" fmla="*/ 14764 h 333375"/>
                  <a:gd name="connsiteX15" fmla="*/ 273844 w 276225"/>
                  <a:gd name="connsiteY15" fmla="*/ 33814 h 333375"/>
                  <a:gd name="connsiteX16" fmla="*/ 265271 w 276225"/>
                  <a:gd name="connsiteY16" fmla="*/ 52864 h 333375"/>
                  <a:gd name="connsiteX17" fmla="*/ 240506 w 276225"/>
                  <a:gd name="connsiteY17" fmla="*/ 59531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6225" h="333375">
                    <a:moveTo>
                      <a:pt x="240506" y="59531"/>
                    </a:moveTo>
                    <a:lnTo>
                      <a:pt x="170974" y="59531"/>
                    </a:lnTo>
                    <a:lnTo>
                      <a:pt x="170974" y="288131"/>
                    </a:lnTo>
                    <a:cubicBezTo>
                      <a:pt x="170974" y="301466"/>
                      <a:pt x="168116" y="310991"/>
                      <a:pt x="162401" y="317659"/>
                    </a:cubicBezTo>
                    <a:cubicBezTo>
                      <a:pt x="156686" y="324326"/>
                      <a:pt x="149066" y="327184"/>
                      <a:pt x="139541" y="327184"/>
                    </a:cubicBezTo>
                    <a:cubicBezTo>
                      <a:pt x="130016" y="327184"/>
                      <a:pt x="122396" y="324326"/>
                      <a:pt x="116681" y="317659"/>
                    </a:cubicBezTo>
                    <a:cubicBezTo>
                      <a:pt x="110966" y="310991"/>
                      <a:pt x="108109" y="301466"/>
                      <a:pt x="108109" y="288131"/>
                    </a:cubicBezTo>
                    <a:lnTo>
                      <a:pt x="108109" y="59531"/>
                    </a:lnTo>
                    <a:lnTo>
                      <a:pt x="38576" y="59531"/>
                    </a:lnTo>
                    <a:cubicBezTo>
                      <a:pt x="28099" y="59531"/>
                      <a:pt x="19526" y="56674"/>
                      <a:pt x="14764" y="51911"/>
                    </a:cubicBezTo>
                    <a:cubicBezTo>
                      <a:pt x="9049" y="47149"/>
                      <a:pt x="7144" y="40481"/>
                      <a:pt x="7144" y="32861"/>
                    </a:cubicBezTo>
                    <a:cubicBezTo>
                      <a:pt x="7144" y="24289"/>
                      <a:pt x="10001" y="18574"/>
                      <a:pt x="15716" y="13811"/>
                    </a:cubicBezTo>
                    <a:cubicBezTo>
                      <a:pt x="21431" y="9049"/>
                      <a:pt x="29051" y="7144"/>
                      <a:pt x="39529" y="7144"/>
                    </a:cubicBezTo>
                    <a:lnTo>
                      <a:pt x="241459" y="7144"/>
                    </a:lnTo>
                    <a:cubicBezTo>
                      <a:pt x="252889" y="7144"/>
                      <a:pt x="260509" y="10001"/>
                      <a:pt x="266224" y="14764"/>
                    </a:cubicBezTo>
                    <a:cubicBezTo>
                      <a:pt x="271939" y="19526"/>
                      <a:pt x="273844" y="26194"/>
                      <a:pt x="273844" y="33814"/>
                    </a:cubicBezTo>
                    <a:cubicBezTo>
                      <a:pt x="273844" y="41434"/>
                      <a:pt x="270986" y="48101"/>
                      <a:pt x="265271" y="52864"/>
                    </a:cubicBezTo>
                    <a:cubicBezTo>
                      <a:pt x="259556" y="57626"/>
                      <a:pt x="250984" y="59531"/>
                      <a:pt x="240506" y="59531"/>
                    </a:cubicBezTo>
                    <a:close/>
                  </a:path>
                </a:pathLst>
              </a:custGeom>
              <a:solidFill>
                <a:srgbClr val="FFFFFF"/>
              </a:solidFill>
              <a:ln w="9525" cap="flat">
                <a:noFill/>
                <a:prstDash val="solid"/>
                <a:miter/>
              </a:ln>
            </p:spPr>
            <p:txBody>
              <a:bodyPr rtlCol="0" anchor="ctr"/>
              <a:lstStyle/>
              <a:p>
                <a:endParaRPr lang="en-GB"/>
              </a:p>
            </p:txBody>
          </p:sp>
        </p:grpSp>
      </p:grpSp>
      <p:pic>
        <p:nvPicPr>
          <p:cNvPr id="24" name="TitleAndEndImages">
            <a:extLst>
              <a:ext uri="{FF2B5EF4-FFF2-40B4-BE49-F238E27FC236}">
                <a16:creationId xmlns:a16="http://schemas.microsoft.com/office/drawing/2014/main" id="{35289A25-9B07-40D8-B297-336079D0A1A1}"/>
              </a:ext>
            </a:extLst>
          </p:cNvPr>
          <p:cNvPicPr>
            <a:picLocks noChangeAspect="1"/>
          </p:cNvPicPr>
          <p:nvPr userDrawn="1">
            <p:custDataLst>
              <p:tags r:id="rId4"/>
            </p:custDataLst>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82190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 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5662B-3A81-4254-871A-13B57F94FFDE}"/>
              </a:ext>
            </a:extLst>
          </p:cNvPr>
          <p:cNvGraphicFramePr>
            <a:graphicFrameLocks noChangeAspect="1"/>
          </p:cNvGraphicFramePr>
          <p:nvPr userDrawn="1">
            <p:custDataLst>
              <p:tags r:id="rId2"/>
            </p:custDataLst>
            <p:extLst>
              <p:ext uri="{D42A27DB-BD31-4B8C-83A1-F6EECF244321}">
                <p14:modId xmlns:p14="http://schemas.microsoft.com/office/powerpoint/2010/main" val="3673100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EBC4959-047D-4974-AEA3-8869DA37B50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endParaRPr lang="en-US" dirty="0"/>
          </a:p>
        </p:txBody>
      </p:sp>
      <p:sp>
        <p:nvSpPr>
          <p:cNvPr id="11"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a:solidFill>
                <a:prstClr val="white">
                  <a:lumMod val="65000"/>
                </a:prstClr>
              </a:solidFill>
            </a:endParaRPr>
          </a:p>
        </p:txBody>
      </p:sp>
    </p:spTree>
    <p:extLst>
      <p:ext uri="{BB962C8B-B14F-4D97-AF65-F5344CB8AC3E}">
        <p14:creationId xmlns:p14="http://schemas.microsoft.com/office/powerpoint/2010/main" val="693375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 Two colum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069641-9791-447F-9C85-3D83867B1824}"/>
              </a:ext>
            </a:extLst>
          </p:cNvPr>
          <p:cNvGraphicFramePr>
            <a:graphicFrameLocks noChangeAspect="1"/>
          </p:cNvGraphicFramePr>
          <p:nvPr userDrawn="1">
            <p:custDataLst>
              <p:tags r:id="rId2"/>
            </p:custDataLst>
            <p:extLst>
              <p:ext uri="{D42A27DB-BD31-4B8C-83A1-F6EECF244321}">
                <p14:modId xmlns:p14="http://schemas.microsoft.com/office/powerpoint/2010/main" val="3423761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887DD11-C617-4677-9B4C-0D02AD367E1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6238850" y="1929384"/>
            <a:ext cx="5321808"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5321808"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19384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 Two column spac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53201E7-89B2-4159-A574-842D5B664FFC}"/>
              </a:ext>
            </a:extLst>
          </p:cNvPr>
          <p:cNvGraphicFramePr>
            <a:graphicFrameLocks noChangeAspect="1"/>
          </p:cNvGraphicFramePr>
          <p:nvPr userDrawn="1">
            <p:custDataLst>
              <p:tags r:id="rId2"/>
            </p:custDataLst>
            <p:extLst>
              <p:ext uri="{D42A27DB-BD31-4B8C-83A1-F6EECF244321}">
                <p14:modId xmlns:p14="http://schemas.microsoft.com/office/powerpoint/2010/main" val="1422859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6ADA1B3-2B21-4C6C-A7AD-E9909B702354}"/>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7174519" y="1929384"/>
            <a:ext cx="4386139"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4386139"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629324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 One thir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5B02B7-BFD9-4E59-8CCB-B350D5ADF718}"/>
              </a:ext>
            </a:extLst>
          </p:cNvPr>
          <p:cNvGraphicFramePr>
            <a:graphicFrameLocks noChangeAspect="1"/>
          </p:cNvGraphicFramePr>
          <p:nvPr userDrawn="1">
            <p:custDataLst>
              <p:tags r:id="rId2"/>
            </p:custDataLst>
            <p:extLst>
              <p:ext uri="{D42A27DB-BD31-4B8C-83A1-F6EECF244321}">
                <p14:modId xmlns:p14="http://schemas.microsoft.com/office/powerpoint/2010/main" val="3366229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1E656C6-EA92-4155-8467-6B8C4D9D8C9C}"/>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5300430" y="1929384"/>
            <a:ext cx="626364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5" y="1929384"/>
            <a:ext cx="3456432"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66256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 Two thir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1325046-902D-4A9A-85B8-5865005BF8A7}"/>
              </a:ext>
            </a:extLst>
          </p:cNvPr>
          <p:cNvGraphicFramePr>
            <a:graphicFrameLocks noChangeAspect="1"/>
          </p:cNvGraphicFramePr>
          <p:nvPr userDrawn="1">
            <p:custDataLst>
              <p:tags r:id="rId2"/>
            </p:custDataLst>
            <p:extLst>
              <p:ext uri="{D42A27DB-BD31-4B8C-83A1-F6EECF244321}">
                <p14:modId xmlns:p14="http://schemas.microsoft.com/office/powerpoint/2010/main" val="364566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73755E-3ABE-462A-8A64-91A42374948F}"/>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8104226" y="1929384"/>
            <a:ext cx="3456432"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5" y="1929384"/>
            <a:ext cx="626364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27568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 Three colum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88CD7-0B51-414B-9418-EC17BC878889}"/>
              </a:ext>
            </a:extLst>
          </p:cNvPr>
          <p:cNvGraphicFramePr>
            <a:graphicFrameLocks noChangeAspect="1"/>
          </p:cNvGraphicFramePr>
          <p:nvPr userDrawn="1">
            <p:custDataLst>
              <p:tags r:id="rId2"/>
            </p:custDataLst>
            <p:extLst>
              <p:ext uri="{D42A27DB-BD31-4B8C-83A1-F6EECF244321}">
                <p14:modId xmlns:p14="http://schemas.microsoft.com/office/powerpoint/2010/main" val="4061817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032B312-93A5-4163-8D8B-353ED205F54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4376640"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8121937"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30"/>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720798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 Three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D4C2526-064A-4F39-84C6-490CA52E0923}"/>
              </a:ext>
            </a:extLst>
          </p:cNvPr>
          <p:cNvGraphicFramePr>
            <a:graphicFrameLocks noChangeAspect="1"/>
          </p:cNvGraphicFramePr>
          <p:nvPr userDrawn="1">
            <p:custDataLst>
              <p:tags r:id="rId2"/>
            </p:custDataLst>
            <p:extLst>
              <p:ext uri="{D42A27DB-BD31-4B8C-83A1-F6EECF244321}">
                <p14:modId xmlns:p14="http://schemas.microsoft.com/office/powerpoint/2010/main" val="4167452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509D19C-3EDD-4DF7-87FA-487A8E929CD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3" name="Text Placeholder 5"/>
          <p:cNvSpPr>
            <a:spLocks noGrp="1"/>
          </p:cNvSpPr>
          <p:nvPr>
            <p:ph type="body" sz="quarter" idx="29"/>
          </p:nvPr>
        </p:nvSpPr>
        <p:spPr>
          <a:xfrm>
            <a:off x="8121937" y="3239034"/>
            <a:ext cx="3438721"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34"/>
          </p:nvPr>
        </p:nvSpPr>
        <p:spPr>
          <a:xfrm>
            <a:off x="4375535" y="2214880"/>
            <a:ext cx="3438144" cy="805587"/>
          </a:xfrm>
        </p:spPr>
        <p:txBody>
          <a:bodyPr anchor="b">
            <a:noAutofit/>
          </a:bodyPr>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8" name="Text Placeholder 11"/>
          <p:cNvSpPr>
            <a:spLocks noGrp="1"/>
          </p:cNvSpPr>
          <p:nvPr>
            <p:ph type="body" sz="quarter" idx="35"/>
          </p:nvPr>
        </p:nvSpPr>
        <p:spPr>
          <a:xfrm>
            <a:off x="8122514" y="2214880"/>
            <a:ext cx="3438144" cy="805587"/>
          </a:xfrm>
        </p:spPr>
        <p:txBody>
          <a:bodyPr anchor="b">
            <a:noAutofit/>
          </a:bodyPr>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2" name="Text Placeholder 11"/>
          <p:cNvSpPr>
            <a:spLocks noGrp="1"/>
          </p:cNvSpPr>
          <p:nvPr>
            <p:ph type="body" sz="quarter" idx="33"/>
          </p:nvPr>
        </p:nvSpPr>
        <p:spPr>
          <a:xfrm>
            <a:off x="630238" y="2214880"/>
            <a:ext cx="3438144" cy="804672"/>
          </a:xfrm>
        </p:spPr>
        <p:txBody>
          <a:bodyPr anchor="b">
            <a:spAutoFit/>
          </a:bodyPr>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62" name="Text Placeholder 5"/>
          <p:cNvSpPr>
            <a:spLocks noGrp="1"/>
          </p:cNvSpPr>
          <p:nvPr>
            <p:ph type="body" sz="quarter" idx="28"/>
          </p:nvPr>
        </p:nvSpPr>
        <p:spPr>
          <a:xfrm>
            <a:off x="4376640" y="3239034"/>
            <a:ext cx="3438721"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3438721"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36"/>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21071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FD2CFC-00CF-42DB-8D47-906F8213483F}"/>
              </a:ext>
            </a:extLst>
          </p:cNvPr>
          <p:cNvGraphicFramePr>
            <a:graphicFrameLocks noChangeAspect="1"/>
          </p:cNvGraphicFramePr>
          <p:nvPr userDrawn="1">
            <p:custDataLst>
              <p:tags r:id="rId2"/>
            </p:custDataLst>
            <p:extLst>
              <p:ext uri="{D42A27DB-BD31-4B8C-83A1-F6EECF244321}">
                <p14:modId xmlns:p14="http://schemas.microsoft.com/office/powerpoint/2010/main" val="2562013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01E9A46-54DF-4527-A024-02E1A1663A8C}"/>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8" name="Title 67"/>
          <p:cNvSpPr>
            <a:spLocks noGrp="1"/>
          </p:cNvSpPr>
          <p:nvPr>
            <p:ph type="title"/>
          </p:nvPr>
        </p:nvSpPr>
        <p:spPr/>
        <p:txBody>
          <a:bodyPr/>
          <a:lstStyle/>
          <a:p>
            <a:r>
              <a:rPr lang="en-US"/>
              <a:t>Click to edit Master title style</a:t>
            </a:r>
            <a:endParaRPr lang="en-US" dirty="0"/>
          </a:p>
        </p:txBody>
      </p:sp>
      <p:sp>
        <p:nvSpPr>
          <p:cNvPr id="6" name="Text Placeholder 4"/>
          <p:cNvSpPr>
            <a:spLocks noGrp="1"/>
          </p:cNvSpPr>
          <p:nvPr>
            <p:ph type="body" sz="quarter" idx="14" hasCustomPrompt="1"/>
          </p:nvPr>
        </p:nvSpPr>
        <p:spPr>
          <a:xfrm>
            <a:off x="633413" y="2084387"/>
            <a:ext cx="5321808"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p:cNvSpPr>
            <a:spLocks noGrp="1"/>
          </p:cNvSpPr>
          <p:nvPr>
            <p:ph type="body" sz="quarter" idx="15" hasCustomPrompt="1"/>
          </p:nvPr>
        </p:nvSpPr>
        <p:spPr>
          <a:xfrm>
            <a:off x="6236923" y="2084387"/>
            <a:ext cx="53254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6"/>
          </p:nvPr>
        </p:nvSpPr>
        <p:spPr/>
        <p:txBody>
          <a:bodyPr/>
          <a:lstStyle/>
          <a:p>
            <a:endParaRPr lang="en-US" dirty="0">
              <a:solidFill>
                <a:prstClr val="white">
                  <a:lumMod val="65000"/>
                </a:prstClr>
              </a:solidFill>
            </a:endParaRPr>
          </a:p>
        </p:txBody>
      </p:sp>
      <p:sp>
        <p:nvSpPr>
          <p:cNvPr id="5" name="Footer Placeholder 4"/>
          <p:cNvSpPr>
            <a:spLocks noGrp="1"/>
          </p:cNvSpPr>
          <p:nvPr>
            <p:ph type="ftr" sz="quarter" idx="1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31049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 Gray slic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FC74CB-612D-4B2E-8BCE-77740533229C}"/>
              </a:ext>
            </a:extLst>
          </p:cNvPr>
          <p:cNvGraphicFramePr>
            <a:graphicFrameLocks noChangeAspect="1"/>
          </p:cNvGraphicFramePr>
          <p:nvPr userDrawn="1">
            <p:custDataLst>
              <p:tags r:id="rId2"/>
            </p:custDataLst>
            <p:extLst>
              <p:ext uri="{D42A27DB-BD31-4B8C-83A1-F6EECF244321}">
                <p14:modId xmlns:p14="http://schemas.microsoft.com/office/powerpoint/2010/main" val="93803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42ABC5-45AF-460A-B133-EAE5B87157D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1" name="Rectangle 10"/>
          <p:cNvSpPr/>
          <p:nvPr/>
        </p:nvSpPr>
        <p:spPr bwMode="ltGray">
          <a:xfrm>
            <a:off x="1" y="-1309"/>
            <a:ext cx="408967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4376640"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8" name="Title 4"/>
          <p:cNvSpPr>
            <a:spLocks noGrp="1"/>
          </p:cNvSpPr>
          <p:nvPr>
            <p:ph type="title"/>
          </p:nvPr>
        </p:nvSpPr>
        <p:spPr>
          <a:xfrm>
            <a:off x="630936" y="657346"/>
            <a:ext cx="3095143" cy="326585"/>
          </a:xfrm>
        </p:spPr>
        <p:txBody>
          <a:bodyPr anchor="t"/>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3130015"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8121937" y="1929384"/>
            <a:ext cx="3438721"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30"/>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256148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59A9B2-34D4-4B13-8984-041106CCE46F}"/>
              </a:ext>
            </a:extLst>
          </p:cNvPr>
          <p:cNvGraphicFramePr>
            <a:graphicFrameLocks noChangeAspect="1"/>
          </p:cNvGraphicFramePr>
          <p:nvPr userDrawn="1">
            <p:custDataLst>
              <p:tags r:id="rId2"/>
            </p:custDataLst>
            <p:extLst>
              <p:ext uri="{D42A27DB-BD31-4B8C-83A1-F6EECF244321}">
                <p14:modId xmlns:p14="http://schemas.microsoft.com/office/powerpoint/2010/main" val="98168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BAF0E6-DE49-4251-A3AB-4EADF07EB72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1" name="Rectangle 10"/>
          <p:cNvSpPr/>
          <p:nvPr/>
        </p:nvSpPr>
        <p:spPr bwMode="ltGray">
          <a:xfrm>
            <a:off x="1" y="-1309"/>
            <a:ext cx="467258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5324677" y="2225040"/>
            <a:ext cx="2496312" cy="3931920"/>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p>
            <a:endParaRPr lang="en-US">
              <a:solidFill>
                <a:prstClr val="white">
                  <a:lumMod val="65000"/>
                </a:prstClr>
              </a:solidFill>
            </a:endParaRPr>
          </a:p>
        </p:txBody>
      </p:sp>
      <p:sp>
        <p:nvSpPr>
          <p:cNvPr id="10" name="Text Placeholder 5"/>
          <p:cNvSpPr>
            <a:spLocks noGrp="1"/>
          </p:cNvSpPr>
          <p:nvPr>
            <p:ph type="body" sz="quarter" idx="26"/>
          </p:nvPr>
        </p:nvSpPr>
        <p:spPr>
          <a:xfrm>
            <a:off x="630936" y="2804160"/>
            <a:ext cx="3744258" cy="335584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9064346" y="2225040"/>
            <a:ext cx="2496312" cy="3931920"/>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0" name="Text Placeholder 3"/>
          <p:cNvSpPr>
            <a:spLocks noGrp="1"/>
          </p:cNvSpPr>
          <p:nvPr>
            <p:ph type="body" sz="quarter" idx="32" hasCustomPrompt="1"/>
          </p:nvPr>
        </p:nvSpPr>
        <p:spPr>
          <a:xfrm>
            <a:off x="639763" y="620713"/>
            <a:ext cx="3092204" cy="286232"/>
          </a:xfrm>
          <a:solidFill>
            <a:schemeClr val="accent4"/>
          </a:solidFill>
        </p:spPr>
        <p:txBody>
          <a:bodyPr wrap="none" lIns="91440" tIns="45720" rIns="365760" bIns="45720" anchor="ctr">
            <a:noAutofit/>
          </a:bodyPr>
          <a:lstStyle>
            <a:lvl1pPr>
              <a:buNone/>
              <a:defRPr sz="1200">
                <a:solidFill>
                  <a:srgbClr val="FFFFFF"/>
                </a:solidFill>
              </a:defRPr>
            </a:lvl1pPr>
            <a:lvl2pPr marL="0" indent="0">
              <a:buNone/>
              <a:defRPr/>
            </a:lvl2pPr>
            <a:lvl3pPr marL="173736" indent="0">
              <a:buNone/>
              <a:defRPr/>
            </a:lvl3pPr>
            <a:lvl4pPr>
              <a:buNone/>
              <a:defRPr/>
            </a:lvl4pPr>
            <a:lvl5pPr marL="347472" indent="0">
              <a:buNone/>
              <a:defRPr/>
            </a:lvl5pPr>
          </a:lstStyle>
          <a:p>
            <a:pPr lvl="0"/>
            <a:r>
              <a:rPr lang="en-US"/>
              <a:t>Click to edit. Delete if not using.</a:t>
            </a:r>
          </a:p>
        </p:txBody>
      </p:sp>
      <p:sp>
        <p:nvSpPr>
          <p:cNvPr id="121" name="Subtitle 2"/>
          <p:cNvSpPr>
            <a:spLocks noGrp="1"/>
          </p:cNvSpPr>
          <p:nvPr>
            <p:ph type="subTitle" idx="13"/>
          </p:nvPr>
        </p:nvSpPr>
        <p:spPr>
          <a:xfrm>
            <a:off x="630936" y="2179307"/>
            <a:ext cx="3744258" cy="258532"/>
          </a:xfrm>
        </p:spPr>
        <p:txBody>
          <a:bodyPr/>
          <a:lstStyle>
            <a:lvl1pPr marL="0" indent="0" algn="l">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5" name="Title 4"/>
          <p:cNvSpPr>
            <a:spLocks noGrp="1"/>
          </p:cNvSpPr>
          <p:nvPr>
            <p:ph type="title"/>
          </p:nvPr>
        </p:nvSpPr>
        <p:spPr>
          <a:xfrm>
            <a:off x="630936" y="1227048"/>
            <a:ext cx="3744258" cy="326585"/>
          </a:xfrm>
        </p:spPr>
        <p:txBody>
          <a:bodyPr anchor="t"/>
          <a:lstStyle>
            <a:lvl1pPr>
              <a:defRPr sz="2400"/>
            </a:lvl1pPr>
          </a:lstStyle>
          <a:p>
            <a:r>
              <a:rPr lang="en-US"/>
              <a:t>Click to edit Master title style</a:t>
            </a:r>
          </a:p>
        </p:txBody>
      </p:sp>
      <p:sp>
        <p:nvSpPr>
          <p:cNvPr id="2" name="Footer Placeholder 1"/>
          <p:cNvSpPr>
            <a:spLocks noGrp="1"/>
          </p:cNvSpPr>
          <p:nvPr>
            <p:ph type="ftr" sz="quarter" idx="33"/>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862342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 Four colum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3CF92D5-E5FB-43DA-80D5-52B0E2B0BE0F}"/>
              </a:ext>
            </a:extLst>
          </p:cNvPr>
          <p:cNvGraphicFramePr>
            <a:graphicFrameLocks noChangeAspect="1"/>
          </p:cNvGraphicFramePr>
          <p:nvPr userDrawn="1">
            <p:custDataLst>
              <p:tags r:id="rId2"/>
            </p:custDataLst>
            <p:extLst>
              <p:ext uri="{D42A27DB-BD31-4B8C-83A1-F6EECF244321}">
                <p14:modId xmlns:p14="http://schemas.microsoft.com/office/powerpoint/2010/main" val="2707252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9E98790-AB20-4AD5-884D-C17933239BCF}"/>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3434850"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6238764"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9046058"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31"/>
          </p:nvPr>
        </p:nvSpPr>
        <p:spPr/>
        <p:txBody>
          <a:bodyPr/>
          <a:lstStyle/>
          <a:p>
            <a:endParaRPr lang="en-US">
              <a:solidFill>
                <a:prstClr val="white">
                  <a:lumMod val="65000"/>
                </a:prstClr>
              </a:solidFill>
            </a:endParaRPr>
          </a:p>
        </p:txBody>
      </p:sp>
      <p:sp>
        <p:nvSpPr>
          <p:cNvPr id="3" name="Footer Placeholder 2"/>
          <p:cNvSpPr>
            <a:spLocks noGrp="1"/>
          </p:cNvSpPr>
          <p:nvPr>
            <p:ph type="ftr" sz="quarter" idx="32"/>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22177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 Four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6EEC2E-2FE0-4643-8C91-9E06419BB0C5}"/>
              </a:ext>
            </a:extLst>
          </p:cNvPr>
          <p:cNvGraphicFramePr>
            <a:graphicFrameLocks noChangeAspect="1"/>
          </p:cNvGraphicFramePr>
          <p:nvPr userDrawn="1">
            <p:custDataLst>
              <p:tags r:id="rId2"/>
            </p:custDataLst>
            <p:extLst>
              <p:ext uri="{D42A27DB-BD31-4B8C-83A1-F6EECF244321}">
                <p14:modId xmlns:p14="http://schemas.microsoft.com/office/powerpoint/2010/main" val="1268040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111CC0-D9FD-4F89-8BC3-D9070E942F02}"/>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3434850"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6238764"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9046058" y="3239034"/>
            <a:ext cx="2514600" cy="2916936"/>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34"/>
          </p:nvPr>
        </p:nvSpPr>
        <p:spPr>
          <a:xfrm>
            <a:off x="3434850"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6" name="Text Placeholder 11"/>
          <p:cNvSpPr>
            <a:spLocks noGrp="1"/>
          </p:cNvSpPr>
          <p:nvPr>
            <p:ph type="body" sz="quarter" idx="35"/>
          </p:nvPr>
        </p:nvSpPr>
        <p:spPr>
          <a:xfrm>
            <a:off x="6238764"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7" name="Text Placeholder 11"/>
          <p:cNvSpPr>
            <a:spLocks noGrp="1"/>
          </p:cNvSpPr>
          <p:nvPr>
            <p:ph type="body" sz="quarter" idx="33"/>
          </p:nvPr>
        </p:nvSpPr>
        <p:spPr>
          <a:xfrm>
            <a:off x="630238"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8" name="Text Placeholder 11"/>
          <p:cNvSpPr>
            <a:spLocks noGrp="1"/>
          </p:cNvSpPr>
          <p:nvPr>
            <p:ph type="body" sz="quarter" idx="36"/>
          </p:nvPr>
        </p:nvSpPr>
        <p:spPr>
          <a:xfrm>
            <a:off x="9045360" y="2743468"/>
            <a:ext cx="2515298" cy="276999"/>
          </a:xfrm>
        </p:spPr>
        <p:txBody>
          <a:bodyPr anchor="b"/>
          <a:lstStyle>
            <a:lvl1pPr>
              <a:lnSpc>
                <a:spcPct val="100000"/>
              </a:lnSpc>
              <a:buNone/>
              <a:defRPr sz="1800">
                <a:solidFill>
                  <a:schemeClr val="tx2"/>
                </a:solidFill>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 name="Date Placeholder 1"/>
          <p:cNvSpPr>
            <a:spLocks noGrp="1"/>
          </p:cNvSpPr>
          <p:nvPr>
            <p:ph type="dt" sz="half" idx="37"/>
          </p:nvPr>
        </p:nvSpPr>
        <p:spPr/>
        <p:txBody>
          <a:bodyPr/>
          <a:lstStyle/>
          <a:p>
            <a:endParaRPr lang="en-US">
              <a:solidFill>
                <a:prstClr val="white">
                  <a:lumMod val="65000"/>
                </a:prstClr>
              </a:solidFill>
            </a:endParaRPr>
          </a:p>
        </p:txBody>
      </p:sp>
      <p:sp>
        <p:nvSpPr>
          <p:cNvPr id="3" name="Footer Placeholder 2"/>
          <p:cNvSpPr>
            <a:spLocks noGrp="1"/>
          </p:cNvSpPr>
          <p:nvPr>
            <p:ph type="ftr" sz="quarter" idx="38"/>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206079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 Five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4EE583-2207-4C38-82DC-B562B991F914}"/>
              </a:ext>
            </a:extLst>
          </p:cNvPr>
          <p:cNvGraphicFramePr>
            <a:graphicFrameLocks noChangeAspect="1"/>
          </p:cNvGraphicFramePr>
          <p:nvPr userDrawn="1">
            <p:custDataLst>
              <p:tags r:id="rId2"/>
            </p:custDataLst>
            <p:extLst>
              <p:ext uri="{D42A27DB-BD31-4B8C-83A1-F6EECF244321}">
                <p14:modId xmlns:p14="http://schemas.microsoft.com/office/powerpoint/2010/main" val="244848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C9E550-E501-4621-84AC-D2321C70562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2878274"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58532"/>
          </a:xfrm>
        </p:spPr>
        <p:txBody>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5125777"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7373280"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Text Placeholder 5"/>
          <p:cNvSpPr>
            <a:spLocks noGrp="1"/>
          </p:cNvSpPr>
          <p:nvPr>
            <p:ph type="body" sz="quarter" idx="31"/>
          </p:nvPr>
        </p:nvSpPr>
        <p:spPr>
          <a:xfrm>
            <a:off x="9612986" y="3239034"/>
            <a:ext cx="194767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34"/>
          </p:nvPr>
        </p:nvSpPr>
        <p:spPr>
          <a:xfrm>
            <a:off x="2878274"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8" name="Text Placeholder 11"/>
          <p:cNvSpPr>
            <a:spLocks noGrp="1"/>
          </p:cNvSpPr>
          <p:nvPr>
            <p:ph type="body" sz="quarter" idx="35"/>
          </p:nvPr>
        </p:nvSpPr>
        <p:spPr>
          <a:xfrm>
            <a:off x="5125777"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19" name="Text Placeholder 11"/>
          <p:cNvSpPr>
            <a:spLocks noGrp="1"/>
          </p:cNvSpPr>
          <p:nvPr>
            <p:ph type="body" sz="quarter" idx="33"/>
          </p:nvPr>
        </p:nvSpPr>
        <p:spPr>
          <a:xfrm>
            <a:off x="630238"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0" name="Text Placeholder 11"/>
          <p:cNvSpPr>
            <a:spLocks noGrp="1"/>
          </p:cNvSpPr>
          <p:nvPr>
            <p:ph type="body" sz="quarter" idx="36"/>
          </p:nvPr>
        </p:nvSpPr>
        <p:spPr>
          <a:xfrm>
            <a:off x="7373280"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1" name="Text Placeholder 11"/>
          <p:cNvSpPr>
            <a:spLocks noGrp="1"/>
          </p:cNvSpPr>
          <p:nvPr>
            <p:ph type="body" sz="quarter" idx="37"/>
          </p:nvPr>
        </p:nvSpPr>
        <p:spPr>
          <a:xfrm>
            <a:off x="9612288" y="2466469"/>
            <a:ext cx="194837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 name="Date Placeholder 1"/>
          <p:cNvSpPr>
            <a:spLocks noGrp="1"/>
          </p:cNvSpPr>
          <p:nvPr>
            <p:ph type="dt" sz="half" idx="38"/>
          </p:nvPr>
        </p:nvSpPr>
        <p:spPr/>
        <p:txBody>
          <a:bodyPr/>
          <a:lstStyle/>
          <a:p>
            <a:endParaRPr lang="en-US">
              <a:solidFill>
                <a:prstClr val="white">
                  <a:lumMod val="65000"/>
                </a:prstClr>
              </a:solidFill>
            </a:endParaRPr>
          </a:p>
        </p:txBody>
      </p:sp>
      <p:sp>
        <p:nvSpPr>
          <p:cNvPr id="3" name="Footer Placeholder 2"/>
          <p:cNvSpPr>
            <a:spLocks noGrp="1"/>
          </p:cNvSpPr>
          <p:nvPr>
            <p:ph type="ftr" sz="quarter" idx="39"/>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529722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 Six heading">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85FC0C-F4F3-43E9-9610-D3CE00A781F7}"/>
              </a:ext>
            </a:extLst>
          </p:cNvPr>
          <p:cNvGraphicFramePr>
            <a:graphicFrameLocks noChangeAspect="1"/>
          </p:cNvGraphicFramePr>
          <p:nvPr userDrawn="1">
            <p:custDataLst>
              <p:tags r:id="rId2"/>
            </p:custDataLst>
            <p:extLst>
              <p:ext uri="{D42A27DB-BD31-4B8C-83A1-F6EECF244321}">
                <p14:modId xmlns:p14="http://schemas.microsoft.com/office/powerpoint/2010/main" val="1818236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22E2F6-9A78-4655-A9EC-0B3E5DDBE333}"/>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2" name="Text Placeholder 5"/>
          <p:cNvSpPr>
            <a:spLocks noGrp="1"/>
          </p:cNvSpPr>
          <p:nvPr>
            <p:ph type="body" sz="quarter" idx="28"/>
          </p:nvPr>
        </p:nvSpPr>
        <p:spPr>
          <a:xfrm>
            <a:off x="2500212"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p:cNvSpPr>
            <a:spLocks noGrp="1"/>
          </p:cNvSpPr>
          <p:nvPr>
            <p:ph type="subTitle" idx="13"/>
          </p:nvPr>
        </p:nvSpPr>
        <p:spPr>
          <a:xfrm>
            <a:off x="630936" y="1005840"/>
            <a:ext cx="8119872"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Text Placeholder 5"/>
          <p:cNvSpPr>
            <a:spLocks noGrp="1"/>
          </p:cNvSpPr>
          <p:nvPr>
            <p:ph type="body" sz="quarter" idx="29"/>
          </p:nvPr>
        </p:nvSpPr>
        <p:spPr>
          <a:xfrm>
            <a:off x="4369488"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5"/>
          <p:cNvSpPr>
            <a:spLocks noGrp="1"/>
          </p:cNvSpPr>
          <p:nvPr>
            <p:ph type="body" sz="quarter" idx="30"/>
          </p:nvPr>
        </p:nvSpPr>
        <p:spPr>
          <a:xfrm>
            <a:off x="6238764"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Text Placeholder 5"/>
          <p:cNvSpPr>
            <a:spLocks noGrp="1"/>
          </p:cNvSpPr>
          <p:nvPr>
            <p:ph type="body" sz="quarter" idx="31"/>
          </p:nvPr>
        </p:nvSpPr>
        <p:spPr>
          <a:xfrm>
            <a:off x="8108040"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8" name="Text Placeholder 5"/>
          <p:cNvSpPr>
            <a:spLocks noGrp="1"/>
          </p:cNvSpPr>
          <p:nvPr>
            <p:ph type="body" sz="quarter" idx="32"/>
          </p:nvPr>
        </p:nvSpPr>
        <p:spPr>
          <a:xfrm>
            <a:off x="9978746" y="3239034"/>
            <a:ext cx="1581912"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0" indent="0">
              <a:buNone/>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34"/>
          </p:nvPr>
        </p:nvSpPr>
        <p:spPr>
          <a:xfrm>
            <a:off x="2500212"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0" name="Text Placeholder 11"/>
          <p:cNvSpPr>
            <a:spLocks noGrp="1"/>
          </p:cNvSpPr>
          <p:nvPr>
            <p:ph type="body" sz="quarter" idx="35"/>
          </p:nvPr>
        </p:nvSpPr>
        <p:spPr>
          <a:xfrm>
            <a:off x="4369488"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1" name="Text Placeholder 11"/>
          <p:cNvSpPr>
            <a:spLocks noGrp="1"/>
          </p:cNvSpPr>
          <p:nvPr>
            <p:ph type="body" sz="quarter" idx="33"/>
          </p:nvPr>
        </p:nvSpPr>
        <p:spPr>
          <a:xfrm>
            <a:off x="630238"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2" name="Text Placeholder 11"/>
          <p:cNvSpPr>
            <a:spLocks noGrp="1"/>
          </p:cNvSpPr>
          <p:nvPr>
            <p:ph type="body" sz="quarter" idx="36"/>
          </p:nvPr>
        </p:nvSpPr>
        <p:spPr>
          <a:xfrm>
            <a:off x="6238764"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3" name="Text Placeholder 11"/>
          <p:cNvSpPr>
            <a:spLocks noGrp="1"/>
          </p:cNvSpPr>
          <p:nvPr>
            <p:ph type="body" sz="quarter" idx="37"/>
          </p:nvPr>
        </p:nvSpPr>
        <p:spPr>
          <a:xfrm>
            <a:off x="8108040"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4" name="Text Placeholder 11"/>
          <p:cNvSpPr>
            <a:spLocks noGrp="1"/>
          </p:cNvSpPr>
          <p:nvPr>
            <p:ph type="body" sz="quarter" idx="38"/>
          </p:nvPr>
        </p:nvSpPr>
        <p:spPr>
          <a:xfrm>
            <a:off x="9978048" y="2466469"/>
            <a:ext cx="1582610" cy="553998"/>
          </a:xfrm>
        </p:spPr>
        <p:txBody>
          <a:bodyPr anchor="b"/>
          <a:lstStyle>
            <a:lvl1pPr>
              <a:lnSpc>
                <a:spcPct val="100000"/>
              </a:lnSpc>
              <a:buNone/>
              <a:defRPr sz="1800">
                <a:solidFill>
                  <a:schemeClr val="tx2"/>
                </a:solidFill>
                <a:latin typeface="+mn-lt"/>
              </a:defRPr>
            </a:lvl1pPr>
            <a:lvl2pPr marL="0" indent="0">
              <a:buFont typeface="Arial" panose="020B0604020202020204" pitchFamily="34" charset="0"/>
              <a:buNone/>
              <a:defRPr/>
            </a:lvl2pPr>
            <a:lvl3pPr marL="514350" indent="0">
              <a:buNone/>
              <a:defRPr/>
            </a:lvl3pPr>
            <a:lvl4pPr>
              <a:buNone/>
              <a:defRPr/>
            </a:lvl4pPr>
            <a:lvl5pPr>
              <a:buNone/>
              <a:defRPr/>
            </a:lvl5pPr>
          </a:lstStyle>
          <a:p>
            <a:pPr lvl="0"/>
            <a:r>
              <a:rPr lang="en-US"/>
              <a:t>Edit Master text styles</a:t>
            </a:r>
          </a:p>
        </p:txBody>
      </p:sp>
      <p:sp>
        <p:nvSpPr>
          <p:cNvPr id="2" name="Date Placeholder 1"/>
          <p:cNvSpPr>
            <a:spLocks noGrp="1"/>
          </p:cNvSpPr>
          <p:nvPr>
            <p:ph type="dt" sz="half" idx="39"/>
          </p:nvPr>
        </p:nvSpPr>
        <p:spPr/>
        <p:txBody>
          <a:bodyPr/>
          <a:lstStyle/>
          <a:p>
            <a:endParaRPr lang="en-US">
              <a:solidFill>
                <a:prstClr val="white">
                  <a:lumMod val="65000"/>
                </a:prstClr>
              </a:solidFill>
            </a:endParaRPr>
          </a:p>
        </p:txBody>
      </p:sp>
      <p:sp>
        <p:nvSpPr>
          <p:cNvPr id="3" name="Footer Placeholder 2"/>
          <p:cNvSpPr>
            <a:spLocks noGrp="1"/>
          </p:cNvSpPr>
          <p:nvPr>
            <p:ph type="ftr" sz="quarter" idx="40"/>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77165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484AED-1B6B-49FD-B16F-3E429D682927}"/>
              </a:ext>
            </a:extLst>
          </p:cNvPr>
          <p:cNvGraphicFramePr>
            <a:graphicFrameLocks noChangeAspect="1"/>
          </p:cNvGraphicFramePr>
          <p:nvPr userDrawn="1">
            <p:custDataLst>
              <p:tags r:id="rId2"/>
            </p:custDataLst>
            <p:extLst>
              <p:ext uri="{D42A27DB-BD31-4B8C-83A1-F6EECF244321}">
                <p14:modId xmlns:p14="http://schemas.microsoft.com/office/powerpoint/2010/main" val="286528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3"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p:txBody>
          <a:bodyPr/>
          <a:lstStyle/>
          <a:p>
            <a:endParaRPr lang="en-US">
              <a:solidFill>
                <a:prstClr val="white">
                  <a:lumMod val="65000"/>
                </a:prstClr>
              </a:solidFill>
            </a:endParaRPr>
          </a:p>
        </p:txBody>
      </p:sp>
      <p:sp>
        <p:nvSpPr>
          <p:cNvPr id="3" name="Footer Placeholder 2"/>
          <p:cNvSpPr>
            <a:spLocks noGrp="1"/>
          </p:cNvSpPr>
          <p:nvPr>
            <p:ph type="ftr" sz="quarter" idx="13"/>
          </p:nvPr>
        </p:nvSpPr>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132379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D. Split blank">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AB6D053-DEB1-4BF0-844F-4CEFEE267D00}"/>
              </a:ext>
            </a:extLst>
          </p:cNvPr>
          <p:cNvGraphicFramePr>
            <a:graphicFrameLocks noChangeAspect="1"/>
          </p:cNvGraphicFramePr>
          <p:nvPr userDrawn="1">
            <p:custDataLst>
              <p:tags r:id="rId2"/>
            </p:custDataLst>
            <p:extLst>
              <p:ext uri="{D42A27DB-BD31-4B8C-83A1-F6EECF244321}">
                <p14:modId xmlns:p14="http://schemas.microsoft.com/office/powerpoint/2010/main" val="1543332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4F1AED-A08A-44CA-BCB7-26C8BA987B48}"/>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9" name="Rectangle 8"/>
          <p:cNvSpPr/>
          <p:nvPr/>
        </p:nvSpPr>
        <p:spPr bwMode="ltGray">
          <a:xfrm>
            <a:off x="0" y="3544478"/>
            <a:ext cx="12191999" cy="33135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ndParaRPr>
          </a:p>
        </p:txBody>
      </p:sp>
      <p:sp>
        <p:nvSpPr>
          <p:cNvPr id="7" name="Subtitle 2"/>
          <p:cNvSpPr>
            <a:spLocks noGrp="1"/>
          </p:cNvSpPr>
          <p:nvPr>
            <p:ph type="subTitle" idx="13"/>
          </p:nvPr>
        </p:nvSpPr>
        <p:spPr>
          <a:xfrm>
            <a:off x="630936" y="1005840"/>
            <a:ext cx="8119872"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Box 9"/>
          <p:cNvSpPr txBox="1"/>
          <p:nvPr/>
        </p:nvSpPr>
        <p:spPr>
          <a:xfrm>
            <a:off x="11167872" y="6406268"/>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65000"/>
                  </a:prstClr>
                </a:solidFill>
              </a:rPr>
              <a:pPr algn="r">
                <a:defRPr/>
              </a:pPr>
              <a:t>‹#›</a:t>
            </a:fld>
            <a:endParaRPr lang="en-US" sz="1000">
              <a:solidFill>
                <a:prstClr val="white">
                  <a:lumMod val="65000"/>
                </a:prstClr>
              </a:solidFill>
            </a:endParaRPr>
          </a:p>
        </p:txBody>
      </p:sp>
      <p:sp>
        <p:nvSpPr>
          <p:cNvPr id="14" name="Footer Placeholder 10"/>
          <p:cNvSpPr>
            <a:spLocks noGrp="1"/>
          </p:cNvSpPr>
          <p:nvPr>
            <p:ph type="ftr" sz="quarter" idx="11"/>
          </p:nvPr>
        </p:nvSpPr>
        <p:spPr>
          <a:xfrm rot="16200000">
            <a:off x="10558564" y="5107293"/>
            <a:ext cx="2743200" cy="107722"/>
          </a:xfrm>
        </p:spPr>
        <p:txBody>
          <a:bodyPr/>
          <a:lstStyle>
            <a:lvl1pPr>
              <a:defRPr>
                <a:solidFill>
                  <a:schemeClr val="bg1">
                    <a:lumMod val="65000"/>
                  </a:schemeClr>
                </a:solidFill>
              </a:defRPr>
            </a:lvl1pPr>
          </a:lstStyle>
          <a:p>
            <a:endParaRPr lang="en-US" dirty="0">
              <a:solidFill>
                <a:prstClr val="white">
                  <a:lumMod val="65000"/>
                </a:prstClr>
              </a:solidFill>
            </a:endParaRPr>
          </a:p>
        </p:txBody>
      </p:sp>
      <p:sp>
        <p:nvSpPr>
          <p:cNvPr id="16" name="Date Placeholder 1"/>
          <p:cNvSpPr>
            <a:spLocks noGrp="1"/>
          </p:cNvSpPr>
          <p:nvPr>
            <p:ph type="dt" sz="half" idx="12"/>
          </p:nvPr>
        </p:nvSpPr>
        <p:spPr>
          <a:xfrm>
            <a:off x="10236975" y="6405036"/>
            <a:ext cx="922476" cy="153888"/>
          </a:xfrm>
        </p:spPr>
        <p:txBody>
          <a:bodyPr/>
          <a:lstStyle/>
          <a:p>
            <a:endParaRPr lang="en-US">
              <a:solidFill>
                <a:prstClr val="white">
                  <a:lumMod val="65000"/>
                </a:prstClr>
              </a:solidFill>
            </a:endParaRPr>
          </a:p>
        </p:txBody>
      </p:sp>
    </p:spTree>
    <p:extLst>
      <p:ext uri="{BB962C8B-B14F-4D97-AF65-F5344CB8AC3E}">
        <p14:creationId xmlns:p14="http://schemas.microsoft.com/office/powerpoint/2010/main" val="349195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Green highligh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0EEF54-6553-4CDA-B069-2B37B57F158E}"/>
              </a:ext>
            </a:extLst>
          </p:cNvPr>
          <p:cNvGraphicFramePr>
            <a:graphicFrameLocks noChangeAspect="1"/>
          </p:cNvGraphicFramePr>
          <p:nvPr userDrawn="1">
            <p:custDataLst>
              <p:tags r:id="rId2"/>
            </p:custDataLst>
            <p:extLst>
              <p:ext uri="{D42A27DB-BD31-4B8C-83A1-F6EECF244321}">
                <p14:modId xmlns:p14="http://schemas.microsoft.com/office/powerpoint/2010/main" val="3428067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94DE16-C6D3-4F0C-8E15-FDFBE06F6CA5}"/>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a:xfrm rot="10800000">
            <a:off x="6772450" y="0"/>
            <a:ext cx="580573" cy="6858000"/>
          </a:xfrm>
          <a:prstGeom prst="rect">
            <a:avLst/>
          </a:prstGeom>
        </p:spPr>
      </p:pic>
      <p:sp>
        <p:nvSpPr>
          <p:cNvPr id="12" name="Rectangle 11"/>
          <p:cNvSpPr/>
          <p:nvPr userDrawn="1"/>
        </p:nvSpPr>
        <p:spPr bwMode="ltGray">
          <a:xfrm>
            <a:off x="7171956" y="0"/>
            <a:ext cx="5020044"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ndParaRPr>
          </a:p>
        </p:txBody>
      </p:sp>
      <p:sp>
        <p:nvSpPr>
          <p:cNvPr id="14" name="TextBox 13"/>
          <p:cNvSpPr txBox="1"/>
          <p:nvPr/>
        </p:nvSpPr>
        <p:spPr>
          <a:xfrm>
            <a:off x="11167872" y="6411348"/>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62" name="Text Placeholder 5"/>
          <p:cNvSpPr>
            <a:spLocks noGrp="1"/>
          </p:cNvSpPr>
          <p:nvPr>
            <p:ph type="body" sz="quarter" idx="28"/>
          </p:nvPr>
        </p:nvSpPr>
        <p:spPr>
          <a:xfrm>
            <a:off x="3724952"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7" name="Subtitle 2"/>
          <p:cNvSpPr>
            <a:spLocks noGrp="1"/>
          </p:cNvSpPr>
          <p:nvPr>
            <p:ph type="subTitle" idx="13"/>
          </p:nvPr>
        </p:nvSpPr>
        <p:spPr>
          <a:xfrm>
            <a:off x="630936" y="1005840"/>
            <a:ext cx="6276529"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6262393"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8104750" y="1929384"/>
            <a:ext cx="3455908" cy="4224528"/>
          </a:xfrm>
        </p:spPr>
        <p:txBody>
          <a:bodyPr/>
          <a:lstStyle>
            <a:lvl1pPr>
              <a:lnSpc>
                <a:spcPct val="105000"/>
              </a:lnSpc>
              <a:defRPr sz="1200">
                <a:solidFill>
                  <a:schemeClr val="bg1"/>
                </a:solidFill>
              </a:defRPr>
            </a:lvl1pPr>
            <a:lvl2pPr marL="283464" indent="-173736">
              <a:lnSpc>
                <a:spcPct val="105000"/>
              </a:lnSpc>
              <a:spcBef>
                <a:spcPts val="0"/>
              </a:spcBef>
              <a:buClrTx/>
              <a:defRPr sz="1200">
                <a:solidFill>
                  <a:schemeClr val="bg1"/>
                </a:solidFill>
              </a:defRPr>
            </a:lvl2pPr>
            <a:lvl3pPr marL="512064" indent="-164592">
              <a:lnSpc>
                <a:spcPct val="105000"/>
              </a:lnSpc>
              <a:spcBef>
                <a:spcPts val="0"/>
              </a:spcBef>
              <a:buClrTx/>
              <a:defRPr sz="1200">
                <a:solidFill>
                  <a:schemeClr val="bg1"/>
                </a:solidFill>
              </a:defRPr>
            </a:lvl3pPr>
            <a:lvl4pPr>
              <a:lnSpc>
                <a:spcPct val="110000"/>
              </a:lnSpc>
              <a:spcBef>
                <a:spcPts val="300"/>
              </a:spcBef>
              <a:spcAft>
                <a:spcPts val="300"/>
              </a:spcAft>
              <a:defRPr sz="1800">
                <a:solidFill>
                  <a:schemeClr val="bg1"/>
                </a:solidFill>
              </a:defRPr>
            </a:lvl4pPr>
            <a:lvl5pPr>
              <a:lnSpc>
                <a:spcPct val="110000"/>
              </a:lnSpc>
              <a:spcBef>
                <a:spcPts val="0"/>
              </a:spcBef>
              <a:defRPr sz="1800">
                <a:solidFill>
                  <a:schemeClr val="bg1"/>
                </a:solidFill>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1"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2038786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Four column green">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B84BB6-89E5-442A-AF0D-AF0293EB07FE}"/>
              </a:ext>
            </a:extLst>
          </p:cNvPr>
          <p:cNvGraphicFramePr>
            <a:graphicFrameLocks noChangeAspect="1"/>
          </p:cNvGraphicFramePr>
          <p:nvPr userDrawn="1">
            <p:custDataLst>
              <p:tags r:id="rId2"/>
            </p:custDataLst>
            <p:extLst>
              <p:ext uri="{D42A27DB-BD31-4B8C-83A1-F6EECF244321}">
                <p14:modId xmlns:p14="http://schemas.microsoft.com/office/powerpoint/2010/main" val="2587082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31D4EA7-2A0F-43A9-9D87-590D4CF1007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a:xfrm rot="10800000">
            <a:off x="8639627" y="0"/>
            <a:ext cx="580573" cy="6858000"/>
          </a:xfrm>
          <a:prstGeom prst="rect">
            <a:avLst/>
          </a:prstGeom>
        </p:spPr>
      </p:pic>
      <p:sp>
        <p:nvSpPr>
          <p:cNvPr id="12" name="Rectangle 11"/>
          <p:cNvSpPr/>
          <p:nvPr/>
        </p:nvSpPr>
        <p:spPr bwMode="ltGray">
          <a:xfrm>
            <a:off x="9043136" y="0"/>
            <a:ext cx="3148864"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ndParaRPr>
          </a:p>
        </p:txBody>
      </p:sp>
      <p:sp>
        <p:nvSpPr>
          <p:cNvPr id="62" name="Text Placeholder 5"/>
          <p:cNvSpPr>
            <a:spLocks noGrp="1"/>
          </p:cNvSpPr>
          <p:nvPr>
            <p:ph type="body" sz="quarter" idx="28"/>
          </p:nvPr>
        </p:nvSpPr>
        <p:spPr>
          <a:xfrm>
            <a:off x="3434850"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7" name="Subtitle 2"/>
          <p:cNvSpPr>
            <a:spLocks noGrp="1"/>
          </p:cNvSpPr>
          <p:nvPr>
            <p:ph type="subTitle" idx="13"/>
          </p:nvPr>
        </p:nvSpPr>
        <p:spPr>
          <a:xfrm>
            <a:off x="630936" y="1005840"/>
            <a:ext cx="8119872" cy="270843"/>
          </a:xfrm>
        </p:spPr>
        <p:txBody>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4"/>
          <p:cNvSpPr>
            <a:spLocks noGrp="1"/>
          </p:cNvSpPr>
          <p:nvPr>
            <p:ph type="title"/>
          </p:nvPr>
        </p:nvSpPr>
        <p:spPr>
          <a:xfrm>
            <a:off x="630936" y="651898"/>
            <a:ext cx="8101584" cy="332399"/>
          </a:xfrm>
        </p:spPr>
        <p:txBody>
          <a:bodyPr/>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Text Placeholder 5"/>
          <p:cNvSpPr>
            <a:spLocks noGrp="1"/>
          </p:cNvSpPr>
          <p:nvPr>
            <p:ph type="body" sz="quarter" idx="29"/>
          </p:nvPr>
        </p:nvSpPr>
        <p:spPr>
          <a:xfrm>
            <a:off x="6238764"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3" name="Text Placeholder 5"/>
          <p:cNvSpPr>
            <a:spLocks noGrp="1"/>
          </p:cNvSpPr>
          <p:nvPr>
            <p:ph type="body" sz="quarter" idx="30"/>
          </p:nvPr>
        </p:nvSpPr>
        <p:spPr>
          <a:xfrm>
            <a:off x="9320952" y="1929384"/>
            <a:ext cx="2239706" cy="1383456"/>
          </a:xfrm>
        </p:spPr>
        <p:txBody>
          <a:bodyPr/>
          <a:lstStyle>
            <a:lvl1pPr>
              <a:lnSpc>
                <a:spcPct val="105000"/>
              </a:lnSpc>
              <a:defRPr sz="1200">
                <a:solidFill>
                  <a:schemeClr val="bg1"/>
                </a:solidFill>
                <a:latin typeface="+mn-lt"/>
              </a:defRPr>
            </a:lvl1pPr>
            <a:lvl2pPr marL="283464" indent="-173736">
              <a:lnSpc>
                <a:spcPct val="105000"/>
              </a:lnSpc>
              <a:spcBef>
                <a:spcPts val="0"/>
              </a:spcBef>
              <a:buClrTx/>
              <a:defRPr sz="1200">
                <a:solidFill>
                  <a:schemeClr val="bg1"/>
                </a:solidFill>
                <a:latin typeface="+mn-lt"/>
              </a:defRPr>
            </a:lvl2pPr>
            <a:lvl3pPr marL="512064" indent="-164592">
              <a:lnSpc>
                <a:spcPct val="105000"/>
              </a:lnSpc>
              <a:spcBef>
                <a:spcPts val="0"/>
              </a:spcBef>
              <a:buClrTx/>
              <a:defRPr sz="1200">
                <a:solidFill>
                  <a:schemeClr val="bg1"/>
                </a:solidFill>
                <a:latin typeface="+mn-lt"/>
              </a:defRPr>
            </a:lvl3pPr>
            <a:lvl4pPr>
              <a:lnSpc>
                <a:spcPct val="110000"/>
              </a:lnSpc>
              <a:spcBef>
                <a:spcPts val="300"/>
              </a:spcBef>
              <a:spcAft>
                <a:spcPts val="300"/>
              </a:spcAft>
              <a:defRPr sz="1800">
                <a:solidFill>
                  <a:schemeClr val="bg1"/>
                </a:solidFill>
                <a:latin typeface="+mn-lt"/>
              </a:defRPr>
            </a:lvl4pPr>
            <a:lvl5pPr>
              <a:lnSpc>
                <a:spcPct val="110000"/>
              </a:lnSpc>
              <a:spcBef>
                <a:spcPts val="0"/>
              </a:spcBef>
              <a:defRPr sz="1800">
                <a:solidFill>
                  <a:schemeClr val="bg1"/>
                </a:solidFill>
                <a:latin typeface="+mn-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latin typeface="+mn-lt"/>
              </a:rPr>
              <a:pPr algn="r">
                <a:defRPr/>
              </a:pPr>
              <a:t>‹#›</a:t>
            </a:fld>
            <a:endParaRPr lang="en-US" sz="1000">
              <a:solidFill>
                <a:prstClr val="white"/>
              </a:solidFill>
              <a:latin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1" name="Footer Placeholder 10"/>
          <p:cNvSpPr>
            <a:spLocks noGrp="1"/>
          </p:cNvSpPr>
          <p:nvPr>
            <p:ph type="ftr" sz="quarter" idx="11"/>
          </p:nvPr>
        </p:nvSpPr>
        <p:spPr>
          <a:xfrm rot="16200000">
            <a:off x="10558564" y="5084210"/>
            <a:ext cx="2743200" cy="153888"/>
          </a:xfrm>
        </p:spPr>
        <p:txBody>
          <a:bodyPr/>
          <a:lstStyle>
            <a:lvl1pPr>
              <a:defRPr>
                <a:solidFill>
                  <a:schemeClr val="bg1"/>
                </a:solidFill>
                <a:latin typeface="+mn-lt"/>
              </a:defRPr>
            </a:lvl1pPr>
          </a:lstStyle>
          <a:p>
            <a:endParaRPr lang="en-US">
              <a:solidFill>
                <a:prstClr val="white"/>
              </a:solidFill>
            </a:endParaRPr>
          </a:p>
        </p:txBody>
      </p:sp>
    </p:spTree>
    <p:extLst>
      <p:ext uri="{BB962C8B-B14F-4D97-AF65-F5344CB8AC3E}">
        <p14:creationId xmlns:p14="http://schemas.microsoft.com/office/powerpoint/2010/main" val="257882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 spac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CD536C-269D-467D-B63E-A796D32C5A9D}"/>
              </a:ext>
            </a:extLst>
          </p:cNvPr>
          <p:cNvGraphicFramePr>
            <a:graphicFrameLocks noChangeAspect="1"/>
          </p:cNvGraphicFramePr>
          <p:nvPr userDrawn="1">
            <p:custDataLst>
              <p:tags r:id="rId2"/>
            </p:custDataLst>
            <p:extLst>
              <p:ext uri="{D42A27DB-BD31-4B8C-83A1-F6EECF244321}">
                <p14:modId xmlns:p14="http://schemas.microsoft.com/office/powerpoint/2010/main" val="772160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555E88-0AD5-4B2B-A51B-D34604D603C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68" name="Title 67"/>
          <p:cNvSpPr>
            <a:spLocks noGrp="1"/>
          </p:cNvSpPr>
          <p:nvPr>
            <p:ph type="title"/>
          </p:nvPr>
        </p:nvSpPr>
        <p:spPr/>
        <p:txBody>
          <a:bodyPr/>
          <a:lstStyle/>
          <a:p>
            <a:r>
              <a:rPr lang="en-US"/>
              <a:t>Click to edit Master title style</a:t>
            </a:r>
            <a:endParaRPr lang="en-US" dirty="0"/>
          </a:p>
        </p:txBody>
      </p:sp>
      <p:sp>
        <p:nvSpPr>
          <p:cNvPr id="6" name="Text Placeholder 4"/>
          <p:cNvSpPr>
            <a:spLocks noGrp="1"/>
          </p:cNvSpPr>
          <p:nvPr>
            <p:ph type="body" sz="quarter" idx="14" hasCustomPrompt="1"/>
          </p:nvPr>
        </p:nvSpPr>
        <p:spPr>
          <a:xfrm>
            <a:off x="633413" y="2084387"/>
            <a:ext cx="4386631"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p:cNvSpPr>
            <a:spLocks noGrp="1"/>
          </p:cNvSpPr>
          <p:nvPr>
            <p:ph type="body" sz="quarter" idx="15" hasCustomPrompt="1"/>
          </p:nvPr>
        </p:nvSpPr>
        <p:spPr>
          <a:xfrm>
            <a:off x="7175717" y="2084387"/>
            <a:ext cx="4386631"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6"/>
          </p:nvPr>
        </p:nvSpPr>
        <p:spPr/>
        <p:txBody>
          <a:bodyPr/>
          <a:lstStyle/>
          <a:p>
            <a:endParaRPr lang="en-US" dirty="0">
              <a:solidFill>
                <a:prstClr val="white">
                  <a:lumMod val="65000"/>
                </a:prstClr>
              </a:solidFill>
            </a:endParaRPr>
          </a:p>
        </p:txBody>
      </p:sp>
      <p:sp>
        <p:nvSpPr>
          <p:cNvPr id="5" name="Footer Placeholder 4"/>
          <p:cNvSpPr>
            <a:spLocks noGrp="1"/>
          </p:cNvSpPr>
          <p:nvPr>
            <p:ph type="ftr" sz="quarter" idx="17"/>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1251018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Section green lef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AD0914-0393-4D9F-B2C5-3CBE3AD41CB1}"/>
              </a:ext>
            </a:extLst>
          </p:cNvPr>
          <p:cNvGraphicFramePr>
            <a:graphicFrameLocks noChangeAspect="1"/>
          </p:cNvGraphicFramePr>
          <p:nvPr userDrawn="1">
            <p:custDataLst>
              <p:tags r:id="rId2"/>
            </p:custDataLst>
            <p:extLst>
              <p:ext uri="{D42A27DB-BD31-4B8C-83A1-F6EECF244321}">
                <p14:modId xmlns:p14="http://schemas.microsoft.com/office/powerpoint/2010/main" val="1659989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1D8BE37-64EF-49BC-B72C-27BB75831427}"/>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grpSp>
        <p:nvGrpSpPr>
          <p:cNvPr id="76" name="Group 75"/>
          <p:cNvGrpSpPr/>
          <p:nvPr/>
        </p:nvGrpSpPr>
        <p:grpSpPr>
          <a:xfrm>
            <a:off x="0" y="-1309"/>
            <a:ext cx="4486229" cy="6859309"/>
            <a:chOff x="1" y="-1309"/>
            <a:chExt cx="4486229" cy="6859309"/>
          </a:xfrm>
        </p:grpSpPr>
        <p:pic>
          <p:nvPicPr>
            <p:cNvPr id="77" name="Picture 76"/>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bwMode="ltGray">
            <a:xfrm>
              <a:off x="3905657" y="0"/>
              <a:ext cx="580573" cy="6858000"/>
            </a:xfrm>
            <a:prstGeom prst="rect">
              <a:avLst/>
            </a:prstGeom>
          </p:spPr>
        </p:pic>
        <p:sp>
          <p:nvSpPr>
            <p:cNvPr id="78" name="Rectangle 77"/>
            <p:cNvSpPr/>
            <p:nvPr/>
          </p:nvSpPr>
          <p:spPr bwMode="ltGray">
            <a:xfrm>
              <a:off x="1" y="-1309"/>
              <a:ext cx="4089674" cy="6859309"/>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grpSp>
      <p:sp>
        <p:nvSpPr>
          <p:cNvPr id="62" name="Text Placeholder 5"/>
          <p:cNvSpPr>
            <a:spLocks noGrp="1"/>
          </p:cNvSpPr>
          <p:nvPr>
            <p:ph type="body" sz="quarter" idx="28"/>
          </p:nvPr>
        </p:nvSpPr>
        <p:spPr>
          <a:xfrm>
            <a:off x="4669733" y="2737272"/>
            <a:ext cx="5956288" cy="1383456"/>
          </a:xfrm>
        </p:spPr>
        <p:txBody>
          <a:bodyPr anchor="ctr"/>
          <a:lstStyle>
            <a:lvl1pPr>
              <a:lnSpc>
                <a:spcPct val="105000"/>
              </a:lnSpc>
              <a:defRPr sz="1200">
                <a:solidFill>
                  <a:schemeClr val="tx1"/>
                </a:solidFill>
                <a:latin typeface="+mn-lt"/>
              </a:defRPr>
            </a:lvl1pPr>
            <a:lvl2pPr marL="283464" indent="-173736">
              <a:lnSpc>
                <a:spcPct val="105000"/>
              </a:lnSpc>
              <a:spcBef>
                <a:spcPts val="0"/>
              </a:spcBef>
              <a:buClr>
                <a:schemeClr val="tx2"/>
              </a:buClr>
              <a:defRPr sz="1200">
                <a:solidFill>
                  <a:schemeClr val="tx1"/>
                </a:solidFill>
                <a:latin typeface="+mn-lt"/>
              </a:defRPr>
            </a:lvl2pPr>
            <a:lvl3pPr marL="512064" indent="-164592">
              <a:lnSpc>
                <a:spcPct val="105000"/>
              </a:lnSpc>
              <a:spcBef>
                <a:spcPts val="0"/>
              </a:spcBef>
              <a:buClr>
                <a:schemeClr val="tx2"/>
              </a:buClr>
              <a:defRPr sz="1200">
                <a:solidFill>
                  <a:schemeClr val="tx1"/>
                </a:solidFill>
                <a:latin typeface="+mn-lt"/>
              </a:defRPr>
            </a:lvl3pPr>
            <a:lvl4pPr>
              <a:lnSpc>
                <a:spcPct val="110000"/>
              </a:lnSpc>
              <a:spcBef>
                <a:spcPts val="300"/>
              </a:spcBef>
              <a:spcAft>
                <a:spcPts val="300"/>
              </a:spcAft>
              <a:defRPr sz="1800">
                <a:solidFill>
                  <a:schemeClr val="tx2"/>
                </a:solidFill>
                <a:latin typeface="+mn-lt"/>
              </a:defRPr>
            </a:lvl4pPr>
            <a:lvl5pPr>
              <a:lnSpc>
                <a:spcPct val="110000"/>
              </a:lnSpc>
              <a:spcBef>
                <a:spcPts val="0"/>
              </a:spcBef>
              <a:defRPr sz="1800">
                <a:solidFill>
                  <a:schemeClr val="tx1"/>
                </a:solidFill>
                <a:latin typeface="+mn-lt"/>
              </a:defRPr>
            </a:lvl5pPr>
            <a:lvl6pPr marL="347472" indent="-228600">
              <a:defRPr sz="1800">
                <a:solidFill>
                  <a:schemeClr val="tx1"/>
                </a:solidFill>
              </a:defRPr>
            </a:lvl6pPr>
            <a:lvl7pPr>
              <a:lnSpc>
                <a:spcPct val="90000"/>
              </a:lnSpc>
              <a:spcBef>
                <a:spcPts val="900"/>
              </a:spcBef>
              <a:spcAft>
                <a:spcPts val="900"/>
              </a:spcAft>
              <a:defRPr sz="4400">
                <a:solidFill>
                  <a:schemeClr val="tx1"/>
                </a:solidFill>
              </a:defRPr>
            </a:lvl7pPr>
            <a:lvl8pPr>
              <a:lnSpc>
                <a:spcPct val="90000"/>
              </a:lnSpc>
              <a:spcBef>
                <a:spcPts val="900"/>
              </a:spcBef>
              <a:spcAft>
                <a:spcPts val="0"/>
              </a:spcAft>
              <a:defRPr sz="5400">
                <a:solidFill>
                  <a:schemeClr val="tx2"/>
                </a:solidFill>
              </a:defRPr>
            </a:lvl8pPr>
            <a:lvl9pPr>
              <a:lnSpc>
                <a:spcPct val="100000"/>
              </a:lnSpc>
              <a:spcAft>
                <a:spcPts val="900"/>
              </a:spcAft>
              <a:defRPr sz="2400">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4"/>
          <p:cNvSpPr>
            <a:spLocks noGrp="1"/>
          </p:cNvSpPr>
          <p:nvPr>
            <p:ph type="title"/>
          </p:nvPr>
        </p:nvSpPr>
        <p:spPr>
          <a:xfrm>
            <a:off x="630936" y="3096602"/>
            <a:ext cx="2529380" cy="664797"/>
          </a:xfrm>
        </p:spPr>
        <p:txBody>
          <a:bodyPr anchor="ctr"/>
          <a:lstStyle>
            <a:lvl1pPr>
              <a:defRPr sz="2400">
                <a:solidFill>
                  <a:schemeClr val="bg1"/>
                </a:solidFill>
              </a:defRPr>
            </a:lvl1pPr>
          </a:lstStyle>
          <a:p>
            <a:r>
              <a:rPr lang="en-US"/>
              <a:t>Click to edit Master title style</a:t>
            </a:r>
          </a:p>
        </p:txBody>
      </p:sp>
      <p:sp>
        <p:nvSpPr>
          <p:cNvPr id="2" name="Date Placeholder 1"/>
          <p:cNvSpPr>
            <a:spLocks noGrp="1"/>
          </p:cNvSpPr>
          <p:nvPr>
            <p:ph type="dt" sz="half" idx="29"/>
          </p:nvPr>
        </p:nvSpPr>
        <p:spPr/>
        <p:txBody>
          <a:bodyPr/>
          <a:lstStyle/>
          <a:p>
            <a:endParaRPr lang="en-US">
              <a:solidFill>
                <a:prstClr val="white">
                  <a:lumMod val="65000"/>
                </a:prstClr>
              </a:solidFill>
            </a:endParaRPr>
          </a:p>
        </p:txBody>
      </p:sp>
      <p:sp>
        <p:nvSpPr>
          <p:cNvPr id="5" name="Footer Placeholder 4"/>
          <p:cNvSpPr>
            <a:spLocks noGrp="1"/>
          </p:cNvSpPr>
          <p:nvPr>
            <p:ph type="ftr" sz="quarter" idx="30"/>
          </p:nvPr>
        </p:nvSpPr>
        <p:spPr/>
        <p:txBody>
          <a:bodyPr/>
          <a:lstStyle/>
          <a:p>
            <a:endParaRPr lang="en-US">
              <a:solidFill>
                <a:prstClr val="white">
                  <a:lumMod val="65000"/>
                </a:prstClr>
              </a:solidFill>
            </a:endParaRPr>
          </a:p>
        </p:txBody>
      </p:sp>
      <p:sp>
        <p:nvSpPr>
          <p:cNvPr id="11" name="TextBox 10">
            <a:extLst>
              <a:ext uri="{FF2B5EF4-FFF2-40B4-BE49-F238E27FC236}">
                <a16:creationId xmlns:a16="http://schemas.microsoft.com/office/drawing/2014/main" id="{9EE96CB9-6476-45CB-8511-7BB302B1905E}"/>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srgbClr val="FFFFFF"/>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381293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Section green righ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F3D4D4-722D-429A-9226-88C6D133533F}"/>
              </a:ext>
            </a:extLst>
          </p:cNvPr>
          <p:cNvGraphicFramePr>
            <a:graphicFrameLocks noChangeAspect="1"/>
          </p:cNvGraphicFramePr>
          <p:nvPr userDrawn="1">
            <p:custDataLst>
              <p:tags r:id="rId2"/>
            </p:custDataLst>
            <p:extLst>
              <p:ext uri="{D42A27DB-BD31-4B8C-83A1-F6EECF244321}">
                <p14:modId xmlns:p14="http://schemas.microsoft.com/office/powerpoint/2010/main" val="2096170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D0FC5B-35CA-43F8-B466-69D8D3D7FA7D}"/>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grpSp>
        <p:nvGrpSpPr>
          <p:cNvPr id="13" name="Group 12"/>
          <p:cNvGrpSpPr/>
          <p:nvPr userDrawn="1"/>
        </p:nvGrpSpPr>
        <p:grpSpPr bwMode="ltGray">
          <a:xfrm rot="10800000">
            <a:off x="3715629" y="0"/>
            <a:ext cx="8476371" cy="6858000"/>
            <a:chOff x="960329" y="0"/>
            <a:chExt cx="8802865" cy="6858000"/>
          </a:xfrm>
        </p:grpSpPr>
        <p:pic>
          <p:nvPicPr>
            <p:cNvPr id="14" name="Picture 13"/>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bwMode="ltGray">
            <a:xfrm>
              <a:off x="9182621" y="0"/>
              <a:ext cx="580573" cy="6858000"/>
            </a:xfrm>
            <a:prstGeom prst="rect">
              <a:avLst/>
            </a:prstGeom>
          </p:spPr>
        </p:pic>
        <p:sp>
          <p:nvSpPr>
            <p:cNvPr id="15" name="Rectangle 14"/>
            <p:cNvSpPr/>
            <p:nvPr/>
          </p:nvSpPr>
          <p:spPr bwMode="ltGray">
            <a:xfrm rot="10800000">
              <a:off x="960329" y="0"/>
              <a:ext cx="8424970"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endParaRPr>
            </a:p>
          </p:txBody>
        </p:sp>
      </p:grpSp>
      <p:sp>
        <p:nvSpPr>
          <p:cNvPr id="62" name="Text Placeholder 5"/>
          <p:cNvSpPr>
            <a:spLocks noGrp="1"/>
          </p:cNvSpPr>
          <p:nvPr>
            <p:ph type="body" sz="quarter" idx="28"/>
          </p:nvPr>
        </p:nvSpPr>
        <p:spPr>
          <a:xfrm>
            <a:off x="4669733" y="2737272"/>
            <a:ext cx="5956288" cy="1383456"/>
          </a:xfrm>
        </p:spPr>
        <p:txBody>
          <a:bodyPr anchor="ctr"/>
          <a:lstStyle>
            <a:lvl1pPr>
              <a:lnSpc>
                <a:spcPct val="105000"/>
              </a:lnSpc>
              <a:defRPr sz="1200">
                <a:solidFill>
                  <a:schemeClr val="bg1"/>
                </a:solidFill>
                <a:latin typeface="+mn-lt"/>
              </a:defRPr>
            </a:lvl1pPr>
            <a:lvl2pPr marL="283464" indent="-173736">
              <a:lnSpc>
                <a:spcPct val="105000"/>
              </a:lnSpc>
              <a:spcBef>
                <a:spcPts val="0"/>
              </a:spcBef>
              <a:buClrTx/>
              <a:defRPr sz="1200">
                <a:solidFill>
                  <a:schemeClr val="bg1"/>
                </a:solidFill>
                <a:latin typeface="+mn-lt"/>
              </a:defRPr>
            </a:lvl2pPr>
            <a:lvl3pPr marL="512064" indent="-164592">
              <a:lnSpc>
                <a:spcPct val="105000"/>
              </a:lnSpc>
              <a:spcBef>
                <a:spcPts val="0"/>
              </a:spcBef>
              <a:buClrTx/>
              <a:defRPr sz="1200">
                <a:solidFill>
                  <a:schemeClr val="bg1"/>
                </a:solidFill>
                <a:latin typeface="+mn-lt"/>
              </a:defRPr>
            </a:lvl3pPr>
            <a:lvl4pPr>
              <a:lnSpc>
                <a:spcPct val="110000"/>
              </a:lnSpc>
              <a:spcBef>
                <a:spcPts val="300"/>
              </a:spcBef>
              <a:spcAft>
                <a:spcPts val="300"/>
              </a:spcAft>
              <a:defRPr sz="1800">
                <a:solidFill>
                  <a:schemeClr val="bg1"/>
                </a:solidFill>
                <a:latin typeface="+mn-lt"/>
              </a:defRPr>
            </a:lvl4pPr>
            <a:lvl5pPr>
              <a:lnSpc>
                <a:spcPct val="110000"/>
              </a:lnSpc>
              <a:spcBef>
                <a:spcPts val="0"/>
              </a:spcBef>
              <a:defRPr sz="1800">
                <a:solidFill>
                  <a:schemeClr val="bg1"/>
                </a:solidFill>
                <a:latin typeface="+mn-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4"/>
          <p:cNvSpPr>
            <a:spLocks noGrp="1"/>
          </p:cNvSpPr>
          <p:nvPr>
            <p:ph type="title"/>
          </p:nvPr>
        </p:nvSpPr>
        <p:spPr>
          <a:xfrm>
            <a:off x="630936" y="3096602"/>
            <a:ext cx="2529380" cy="664797"/>
          </a:xfrm>
        </p:spPr>
        <p:txBody>
          <a:bodyPr anchor="ctr"/>
          <a:lstStyle>
            <a:lvl1pPr>
              <a:defRPr sz="2400"/>
            </a:lvl1pPr>
          </a:lstStyle>
          <a:p>
            <a:r>
              <a:rPr lang="en-US"/>
              <a:t>Click to edit Master title style</a:t>
            </a:r>
          </a:p>
        </p:txBody>
      </p:sp>
      <p:sp>
        <p:nvSpPr>
          <p:cNvPr id="2" name="Date Placeholder 1"/>
          <p:cNvSpPr>
            <a:spLocks noGrp="1"/>
          </p:cNvSpPr>
          <p:nvPr>
            <p:ph type="dt" sz="half" idx="31"/>
          </p:nvPr>
        </p:nvSpPr>
        <p:spPr/>
        <p:txBody>
          <a:bodyPr/>
          <a:lstStyle>
            <a:lvl1pPr>
              <a:defRPr>
                <a:solidFill>
                  <a:schemeClr val="bg1"/>
                </a:solidFill>
              </a:defRPr>
            </a:lvl1pPr>
          </a:lstStyle>
          <a:p>
            <a:endParaRPr lang="en-US">
              <a:solidFill>
                <a:prstClr val="white"/>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1" name="TextBox 2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2"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763155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Objectives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EE02D3-778C-4060-8B0D-5ED3D2CE8B6E}"/>
              </a:ext>
            </a:extLst>
          </p:cNvPr>
          <p:cNvGraphicFramePr>
            <a:graphicFrameLocks noChangeAspect="1"/>
          </p:cNvGraphicFramePr>
          <p:nvPr userDrawn="1">
            <p:custDataLst>
              <p:tags r:id="rId2"/>
            </p:custDataLst>
            <p:extLst>
              <p:ext uri="{D42A27DB-BD31-4B8C-83A1-F6EECF244321}">
                <p14:modId xmlns:p14="http://schemas.microsoft.com/office/powerpoint/2010/main" val="3306710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143A35-7AA8-409F-8DCF-59A64D58DD0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5298251" y="1929384"/>
            <a:ext cx="6262407" cy="1383456"/>
          </a:xfrm>
        </p:spPr>
        <p:txBody>
          <a:bodyPr/>
          <a:lstStyle>
            <a:lvl1pPr>
              <a:lnSpc>
                <a:spcPct val="105000"/>
              </a:lnSpc>
              <a:defRPr sz="1200">
                <a:solidFill>
                  <a:schemeClr val="bg1"/>
                </a:solidFill>
                <a:latin typeface="+mn-lt"/>
              </a:defRPr>
            </a:lvl1pPr>
            <a:lvl2pPr marL="283464" indent="-173736">
              <a:lnSpc>
                <a:spcPct val="105000"/>
              </a:lnSpc>
              <a:spcBef>
                <a:spcPts val="0"/>
              </a:spcBef>
              <a:buClrTx/>
              <a:defRPr sz="1200">
                <a:solidFill>
                  <a:schemeClr val="bg1"/>
                </a:solidFill>
                <a:latin typeface="+mn-lt"/>
              </a:defRPr>
            </a:lvl2pPr>
            <a:lvl3pPr marL="512064" indent="-164592">
              <a:lnSpc>
                <a:spcPct val="105000"/>
              </a:lnSpc>
              <a:spcBef>
                <a:spcPts val="0"/>
              </a:spcBef>
              <a:buClrTx/>
              <a:defRPr sz="1200">
                <a:solidFill>
                  <a:schemeClr val="bg1"/>
                </a:solidFill>
                <a:latin typeface="+mn-lt"/>
              </a:defRPr>
            </a:lvl3pPr>
            <a:lvl4pPr>
              <a:lnSpc>
                <a:spcPct val="110000"/>
              </a:lnSpc>
              <a:spcBef>
                <a:spcPts val="300"/>
              </a:spcBef>
              <a:spcAft>
                <a:spcPts val="300"/>
              </a:spcAft>
              <a:defRPr sz="1800">
                <a:solidFill>
                  <a:schemeClr val="bg1"/>
                </a:solidFill>
                <a:latin typeface="+mn-lt"/>
              </a:defRPr>
            </a:lvl4pPr>
            <a:lvl5pPr>
              <a:lnSpc>
                <a:spcPct val="110000"/>
              </a:lnSpc>
              <a:spcBef>
                <a:spcPts val="0"/>
              </a:spcBef>
              <a:defRPr sz="1800">
                <a:solidFill>
                  <a:schemeClr val="bg1"/>
                </a:solidFill>
                <a:latin typeface="+mn-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8" name="Title 4"/>
          <p:cNvSpPr>
            <a:spLocks noGrp="1"/>
          </p:cNvSpPr>
          <p:nvPr>
            <p:ph type="title"/>
          </p:nvPr>
        </p:nvSpPr>
        <p:spPr>
          <a:xfrm>
            <a:off x="630937" y="657346"/>
            <a:ext cx="2528262" cy="332399"/>
          </a:xfrm>
        </p:spPr>
        <p:txBody>
          <a:bodyPr anchor="t"/>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2514600" cy="1383456"/>
          </a:xfrm>
        </p:spPr>
        <p:txBody>
          <a:bodyPr/>
          <a:lstStyle>
            <a:lvl1pPr>
              <a:lnSpc>
                <a:spcPct val="105000"/>
              </a:lnSpc>
              <a:defRPr sz="1200">
                <a:latin typeface="+mn-lt"/>
              </a:defRPr>
            </a:lvl1pPr>
            <a:lvl2pPr marL="283464" indent="-173736">
              <a:lnSpc>
                <a:spcPct val="105000"/>
              </a:lnSpc>
              <a:spcBef>
                <a:spcPts val="0"/>
              </a:spcBef>
              <a:defRPr sz="1200">
                <a:latin typeface="+mn-lt"/>
              </a:defRPr>
            </a:lvl2pPr>
            <a:lvl3pPr marL="512064" indent="-164592">
              <a:lnSpc>
                <a:spcPct val="105000"/>
              </a:lnSpc>
              <a:spcBef>
                <a:spcPts val="0"/>
              </a:spcBef>
              <a:defRPr sz="1200">
                <a:latin typeface="+mn-lt"/>
              </a:defRPr>
            </a:lvl3pPr>
            <a:lvl4pPr>
              <a:lnSpc>
                <a:spcPct val="110000"/>
              </a:lnSpc>
              <a:spcBef>
                <a:spcPts val="300"/>
              </a:spcBef>
              <a:spcAft>
                <a:spcPts val="300"/>
              </a:spcAft>
              <a:defRPr sz="1800">
                <a:latin typeface="+mn-lt"/>
              </a:defRPr>
            </a:lvl4pPr>
            <a:lvl5pPr>
              <a:lnSpc>
                <a:spcPct val="110000"/>
              </a:lnSpc>
              <a:spcBef>
                <a:spcPts val="0"/>
              </a:spcBef>
              <a:defRPr sz="1800">
                <a:latin typeface="+mn-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19"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Tree>
    <p:extLst>
      <p:ext uri="{BB962C8B-B14F-4D97-AF65-F5344CB8AC3E}">
        <p14:creationId xmlns:p14="http://schemas.microsoft.com/office/powerpoint/2010/main" val="252845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D. Objectives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EE02D3-778C-4060-8B0D-5ED3D2CE8B6E}"/>
              </a:ext>
            </a:extLst>
          </p:cNvPr>
          <p:cNvGraphicFramePr>
            <a:graphicFrameLocks noChangeAspect="1"/>
          </p:cNvGraphicFramePr>
          <p:nvPr userDrawn="1">
            <p:custDataLst>
              <p:tags r:id="rId2"/>
            </p:custDataLst>
            <p:extLst>
              <p:ext uri="{D42A27DB-BD31-4B8C-83A1-F6EECF244321}">
                <p14:modId xmlns:p14="http://schemas.microsoft.com/office/powerpoint/2010/main" val="296884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1"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43EE02D3-778C-4060-8B0D-5ED3D2CE8B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143A35-7AA8-409F-8DCF-59A64D58DD0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Tree>
    <p:extLst>
      <p:ext uri="{BB962C8B-B14F-4D97-AF65-F5344CB8AC3E}">
        <p14:creationId xmlns:p14="http://schemas.microsoft.com/office/powerpoint/2010/main" val="297172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_D. Objectives one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EE02D3-778C-4060-8B0D-5ED3D2CE8B6E}"/>
              </a:ext>
            </a:extLst>
          </p:cNvPr>
          <p:cNvGraphicFramePr>
            <a:graphicFrameLocks noChangeAspect="1"/>
          </p:cNvGraphicFramePr>
          <p:nvPr userDrawn="1">
            <p:custDataLst>
              <p:tags r:id="rId2"/>
            </p:custDataLst>
            <p:extLst>
              <p:ext uri="{D42A27DB-BD31-4B8C-83A1-F6EECF244321}">
                <p14:modId xmlns:p14="http://schemas.microsoft.com/office/powerpoint/2010/main" val="3275747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5"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43EE02D3-778C-4060-8B0D-5ED3D2CE8B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143A35-7AA8-409F-8DCF-59A64D58DD0A}"/>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Tree>
    <p:extLst>
      <p:ext uri="{BB962C8B-B14F-4D97-AF65-F5344CB8AC3E}">
        <p14:creationId xmlns:p14="http://schemas.microsoft.com/office/powerpoint/2010/main" val="2133241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Objectives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D9A14E-3FA1-4B9C-AD03-88EA181A7BDA}"/>
              </a:ext>
            </a:extLst>
          </p:cNvPr>
          <p:cNvGraphicFramePr>
            <a:graphicFrameLocks noChangeAspect="1"/>
          </p:cNvGraphicFramePr>
          <p:nvPr userDrawn="1">
            <p:custDataLst>
              <p:tags r:id="rId2"/>
            </p:custDataLst>
            <p:extLst>
              <p:ext uri="{D42A27DB-BD31-4B8C-83A1-F6EECF244321}">
                <p14:modId xmlns:p14="http://schemas.microsoft.com/office/powerpoint/2010/main" val="1507529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DE9C2D3-ABEE-4A39-9B39-B0C88AEE73A9}"/>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1"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386070"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13"/>
          <p:cNvSpPr/>
          <p:nvPr/>
        </p:nvSpPr>
        <p:spPr bwMode="gray">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ndParaRPr>
          </a:p>
        </p:txBody>
      </p:sp>
      <p:sp>
        <p:nvSpPr>
          <p:cNvPr id="62" name="Text Placeholder 5"/>
          <p:cNvSpPr>
            <a:spLocks noGrp="1"/>
          </p:cNvSpPr>
          <p:nvPr>
            <p:ph type="body" sz="quarter" idx="28"/>
          </p:nvPr>
        </p:nvSpPr>
        <p:spPr>
          <a:xfrm>
            <a:off x="7171538" y="1929384"/>
            <a:ext cx="4389120" cy="4224528"/>
          </a:xfrm>
        </p:spPr>
        <p:txBody>
          <a:bodyPr/>
          <a:lstStyle>
            <a:lvl1pPr>
              <a:lnSpc>
                <a:spcPct val="105000"/>
              </a:lnSpc>
              <a:defRPr sz="1200">
                <a:solidFill>
                  <a:schemeClr val="bg1"/>
                </a:solidFill>
              </a:defRPr>
            </a:lvl1pPr>
            <a:lvl2pPr marL="283464" indent="-173736">
              <a:lnSpc>
                <a:spcPct val="105000"/>
              </a:lnSpc>
              <a:spcBef>
                <a:spcPts val="0"/>
              </a:spcBef>
              <a:buClrTx/>
              <a:defRPr sz="1200">
                <a:solidFill>
                  <a:schemeClr val="bg1"/>
                </a:solidFill>
              </a:defRPr>
            </a:lvl2pPr>
            <a:lvl3pPr marL="512064" indent="-164592">
              <a:lnSpc>
                <a:spcPct val="105000"/>
              </a:lnSpc>
              <a:spcBef>
                <a:spcPts val="0"/>
              </a:spcBef>
              <a:buClrTx/>
              <a:defRPr sz="1200">
                <a:solidFill>
                  <a:schemeClr val="bg1"/>
                </a:solidFill>
              </a:defRPr>
            </a:lvl3pPr>
            <a:lvl4pPr>
              <a:lnSpc>
                <a:spcPct val="110000"/>
              </a:lnSpc>
              <a:spcBef>
                <a:spcPts val="300"/>
              </a:spcBef>
              <a:spcAft>
                <a:spcPts val="300"/>
              </a:spcAft>
              <a:defRPr sz="1800">
                <a:solidFill>
                  <a:schemeClr val="bg1"/>
                </a:solidFill>
              </a:defRPr>
            </a:lvl4pPr>
            <a:lvl5pPr>
              <a:lnSpc>
                <a:spcPct val="110000"/>
              </a:lnSpc>
              <a:spcBef>
                <a:spcPts val="0"/>
              </a:spcBef>
              <a:defRPr sz="1800">
                <a:solidFill>
                  <a:schemeClr val="bg1"/>
                </a:solidFill>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8" name="Title 4"/>
          <p:cNvSpPr>
            <a:spLocks noGrp="1"/>
          </p:cNvSpPr>
          <p:nvPr>
            <p:ph type="title"/>
          </p:nvPr>
        </p:nvSpPr>
        <p:spPr>
          <a:xfrm>
            <a:off x="630937" y="657346"/>
            <a:ext cx="4389120" cy="332399"/>
          </a:xfrm>
        </p:spPr>
        <p:txBody>
          <a:bodyPr anchor="t"/>
          <a:lstStyle>
            <a:lvl1pPr>
              <a:defRPr sz="2400"/>
            </a:lvl1pPr>
          </a:lstStyle>
          <a:p>
            <a:r>
              <a:rPr lang="en-US"/>
              <a:t>Click to edit Master title style</a:t>
            </a:r>
          </a:p>
        </p:txBody>
      </p:sp>
      <p:sp>
        <p:nvSpPr>
          <p:cNvPr id="10" name="Text Placeholder 5"/>
          <p:cNvSpPr>
            <a:spLocks noGrp="1"/>
          </p:cNvSpPr>
          <p:nvPr>
            <p:ph type="body" sz="quarter" idx="26"/>
          </p:nvPr>
        </p:nvSpPr>
        <p:spPr>
          <a:xfrm>
            <a:off x="630936" y="1929384"/>
            <a:ext cx="4389120" cy="4224528"/>
          </a:xfrm>
        </p:spPr>
        <p:txBody>
          <a:bodyPr/>
          <a:lstStyle>
            <a:lvl1pPr>
              <a:lnSpc>
                <a:spcPct val="105000"/>
              </a:lnSpc>
              <a:defRPr sz="1200"/>
            </a:lvl1pPr>
            <a:lvl2pPr marL="283464" indent="-173736">
              <a:lnSpc>
                <a:spcPct val="105000"/>
              </a:lnSpc>
              <a:spcBef>
                <a:spcPts val="0"/>
              </a:spcBef>
              <a:defRPr sz="1200"/>
            </a:lvl2pPr>
            <a:lvl3pPr marL="512064" indent="-164592">
              <a:lnSpc>
                <a:spcPct val="105000"/>
              </a:lnSpc>
              <a:spcBef>
                <a:spcPts val="0"/>
              </a:spcBef>
              <a:defRPr sz="1200"/>
            </a:lvl3pPr>
            <a:lvl4pPr>
              <a:lnSpc>
                <a:spcPct val="110000"/>
              </a:lnSpc>
              <a:spcBef>
                <a:spcPts val="300"/>
              </a:spcBef>
              <a:spcAft>
                <a:spcPts val="300"/>
              </a:spcAft>
              <a:defRPr sz="1800"/>
            </a:lvl4pPr>
            <a:lvl5pPr>
              <a:lnSpc>
                <a:spcPct val="110000"/>
              </a:lnSpc>
              <a:spcBef>
                <a:spcPts val="0"/>
              </a:spcBef>
              <a:defRPr sz="1800"/>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Box 2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2" name="TextBox 2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3"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
        <p:nvSpPr>
          <p:cNvPr id="13" name="TextBox 12">
            <a:extLst>
              <a:ext uri="{FF2B5EF4-FFF2-40B4-BE49-F238E27FC236}">
                <a16:creationId xmlns:a16="http://schemas.microsoft.com/office/drawing/2014/main" id="{417C07B9-FE34-4F53-B140-AEE21D10FB95}"/>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3709406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Objective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FB28FC-CC58-469E-9A51-C733116045BF}"/>
              </a:ext>
            </a:extLst>
          </p:cNvPr>
          <p:cNvGraphicFramePr>
            <a:graphicFrameLocks noChangeAspect="1"/>
          </p:cNvGraphicFramePr>
          <p:nvPr userDrawn="1">
            <p:custDataLst>
              <p:tags r:id="rId2"/>
            </p:custDataLst>
            <p:extLst>
              <p:ext uri="{D42A27DB-BD31-4B8C-83A1-F6EECF244321}">
                <p14:modId xmlns:p14="http://schemas.microsoft.com/office/powerpoint/2010/main" val="389680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A07DA1A-B2E0-4CA4-8F8D-C99B9E768BD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4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12" name="Picture 2" descr="C:\Users\haley\Desktop\Picture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72" name="Freeform 71"/>
          <p:cNvSpPr/>
          <p:nvPr/>
        </p:nvSpPr>
        <p:spPr>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j-lt"/>
            </a:endParaRPr>
          </a:p>
        </p:txBody>
      </p:sp>
      <p:sp>
        <p:nvSpPr>
          <p:cNvPr id="62" name="Text Placeholder 5"/>
          <p:cNvSpPr>
            <a:spLocks noGrp="1"/>
          </p:cNvSpPr>
          <p:nvPr>
            <p:ph type="body" sz="quarter" idx="28" hasCustomPrompt="1"/>
          </p:nvPr>
        </p:nvSpPr>
        <p:spPr>
          <a:xfrm>
            <a:off x="8746070" y="2446424"/>
            <a:ext cx="2814588" cy="1965153"/>
          </a:xfrm>
        </p:spPr>
        <p:txBody>
          <a:bodyPr anchor="ctr"/>
          <a:lstStyle>
            <a:lvl1pPr>
              <a:lnSpc>
                <a:spcPct val="105000"/>
              </a:lnSpc>
              <a:defRPr sz="1200" baseline="0">
                <a:solidFill>
                  <a:schemeClr val="bg1"/>
                </a:solidFill>
                <a:latin typeface="+mj-lt"/>
              </a:defRPr>
            </a:lvl1pPr>
            <a:lvl2pPr marL="283464" indent="-173736">
              <a:lnSpc>
                <a:spcPct val="105000"/>
              </a:lnSpc>
              <a:spcBef>
                <a:spcPts val="0"/>
              </a:spcBef>
              <a:buClrTx/>
              <a:defRPr sz="1200">
                <a:solidFill>
                  <a:schemeClr val="bg1"/>
                </a:solidFill>
                <a:latin typeface="+mj-lt"/>
              </a:defRPr>
            </a:lvl2pPr>
            <a:lvl3pPr marL="512064" indent="-164592">
              <a:lnSpc>
                <a:spcPct val="105000"/>
              </a:lnSpc>
              <a:spcBef>
                <a:spcPts val="0"/>
              </a:spcBef>
              <a:buClrTx/>
              <a:defRPr sz="1200">
                <a:solidFill>
                  <a:schemeClr val="bg1"/>
                </a:solidFill>
                <a:latin typeface="+mj-lt"/>
              </a:defRPr>
            </a:lvl3pPr>
            <a:lvl4pPr>
              <a:lnSpc>
                <a:spcPct val="110000"/>
              </a:lnSpc>
              <a:spcBef>
                <a:spcPts val="300"/>
              </a:spcBef>
              <a:spcAft>
                <a:spcPts val="300"/>
              </a:spcAft>
              <a:defRPr sz="1800">
                <a:solidFill>
                  <a:schemeClr val="bg1"/>
                </a:solidFill>
                <a:latin typeface="+mj-lt"/>
              </a:defRPr>
            </a:lvl4pPr>
            <a:lvl5pPr>
              <a:lnSpc>
                <a:spcPct val="110000"/>
              </a:lnSpc>
              <a:spcBef>
                <a:spcPts val="0"/>
              </a:spcBef>
              <a:defRPr sz="1800">
                <a:solidFill>
                  <a:schemeClr val="bg1"/>
                </a:solidFill>
                <a:latin typeface="+mj-lt"/>
              </a:defRPr>
            </a:lvl5pPr>
            <a:lvl6pPr marL="347472" indent="-228600">
              <a:defRPr sz="1800">
                <a:solidFill>
                  <a:schemeClr val="bg1"/>
                </a:solidFill>
              </a:defRPr>
            </a:lvl6pPr>
            <a:lvl7pPr>
              <a:lnSpc>
                <a:spcPct val="90000"/>
              </a:lnSpc>
              <a:spcBef>
                <a:spcPts val="900"/>
              </a:spcBef>
              <a:spcAft>
                <a:spcPts val="900"/>
              </a:spcAft>
              <a:defRPr sz="4400">
                <a:solidFill>
                  <a:schemeClr val="bg1"/>
                </a:solidFill>
              </a:defRPr>
            </a:lvl7pPr>
            <a:lvl8pPr>
              <a:lnSpc>
                <a:spcPct val="90000"/>
              </a:lnSpc>
              <a:spcBef>
                <a:spcPts val="900"/>
              </a:spcBef>
              <a:spcAft>
                <a:spcPts val="0"/>
              </a:spcAft>
              <a:defRPr sz="5400">
                <a:solidFill>
                  <a:schemeClr val="bg1"/>
                </a:solidFill>
              </a:defRPr>
            </a:lvl8pPr>
            <a:lvl9pPr>
              <a:lnSpc>
                <a:spcPct val="100000"/>
              </a:lnSpc>
              <a:spcAft>
                <a:spcPts val="900"/>
              </a:spcAft>
              <a:defRPr sz="2400">
                <a:solidFill>
                  <a:schemeClr val="bg1"/>
                </a:solidFill>
              </a:defRPr>
            </a:lvl9pPr>
          </a:lstStyle>
          <a:p>
            <a:pPr lvl="0"/>
            <a:r>
              <a:rPr lang="en-US" dirty="0"/>
              <a:t>Use this space for a key idea or conclusion. </a:t>
            </a:r>
            <a:r>
              <a:rPr lang="en-US" dirty="0" err="1"/>
              <a:t>Adjsut</a:t>
            </a:r>
            <a:r>
              <a:rPr lang="en-US" dirty="0"/>
              <a:t> this to top align to the left textbox, if this is filled with dense text instead of shorter phras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10"/>
          </p:nvPr>
        </p:nvSpPr>
        <p:spPr/>
        <p:txBody>
          <a:bodyPr/>
          <a:lstStyle>
            <a:lvl1pPr>
              <a:defRPr>
                <a:solidFill>
                  <a:schemeClr val="bg1"/>
                </a:solidFill>
                <a:latin typeface="+mj-lt"/>
              </a:defRPr>
            </a:lvl1pPr>
          </a:lstStyle>
          <a:p>
            <a:endParaRPr lang="en-US">
              <a:solidFill>
                <a:prstClr val="white"/>
              </a:solidFill>
            </a:endParaRPr>
          </a:p>
        </p:txBody>
      </p:sp>
      <p:sp>
        <p:nvSpPr>
          <p:cNvPr id="10" name="Text Placeholder 5"/>
          <p:cNvSpPr>
            <a:spLocks noGrp="1"/>
          </p:cNvSpPr>
          <p:nvPr>
            <p:ph type="body" sz="quarter" idx="26"/>
          </p:nvPr>
        </p:nvSpPr>
        <p:spPr>
          <a:xfrm>
            <a:off x="630936" y="1929384"/>
            <a:ext cx="6261848" cy="1383456"/>
          </a:xfrm>
        </p:spPr>
        <p:txBody>
          <a:bodyPr/>
          <a:lstStyle>
            <a:lvl1pPr>
              <a:lnSpc>
                <a:spcPct val="105000"/>
              </a:lnSpc>
              <a:defRPr sz="1200">
                <a:latin typeface="+mj-lt"/>
              </a:defRPr>
            </a:lvl1pPr>
            <a:lvl2pPr marL="283464" indent="-173736">
              <a:lnSpc>
                <a:spcPct val="105000"/>
              </a:lnSpc>
              <a:spcBef>
                <a:spcPts val="0"/>
              </a:spcBef>
              <a:defRPr sz="1200">
                <a:latin typeface="+mj-lt"/>
              </a:defRPr>
            </a:lvl2pPr>
            <a:lvl3pPr marL="512064" indent="-164592">
              <a:lnSpc>
                <a:spcPct val="105000"/>
              </a:lnSpc>
              <a:spcBef>
                <a:spcPts val="0"/>
              </a:spcBef>
              <a:defRPr sz="1200">
                <a:latin typeface="+mj-lt"/>
              </a:defRPr>
            </a:lvl3pPr>
            <a:lvl4pPr>
              <a:lnSpc>
                <a:spcPct val="110000"/>
              </a:lnSpc>
              <a:spcBef>
                <a:spcPts val="300"/>
              </a:spcBef>
              <a:spcAft>
                <a:spcPts val="300"/>
              </a:spcAft>
              <a:defRPr sz="1800">
                <a:latin typeface="+mj-lt"/>
              </a:defRPr>
            </a:lvl4pPr>
            <a:lvl5pPr>
              <a:lnSpc>
                <a:spcPct val="110000"/>
              </a:lnSpc>
              <a:spcBef>
                <a:spcPts val="0"/>
              </a:spcBef>
              <a:defRPr sz="1800">
                <a:latin typeface="+mj-lt"/>
              </a:defRPr>
            </a:lvl5pPr>
            <a:lvl6pPr marL="347472" indent="-228600">
              <a:defRPr sz="1800"/>
            </a:lvl6pPr>
            <a:lvl7pPr>
              <a:lnSpc>
                <a:spcPct val="90000"/>
              </a:lnSpc>
              <a:spcBef>
                <a:spcPts val="900"/>
              </a:spcBef>
              <a:spcAft>
                <a:spcPts val="900"/>
              </a:spcAft>
              <a:defRPr sz="4400"/>
            </a:lvl7pPr>
            <a:lvl8pPr>
              <a:lnSpc>
                <a:spcPct val="90000"/>
              </a:lnSpc>
              <a:spcBef>
                <a:spcPts val="900"/>
              </a:spcBef>
              <a:spcAft>
                <a:spcPts val="0"/>
              </a:spcAft>
              <a:defRPr sz="5400"/>
            </a:lvl8pPr>
            <a:lvl9pPr>
              <a:lnSpc>
                <a:spcPct val="100000"/>
              </a:lnSpc>
              <a:spcAft>
                <a:spcPts val="900"/>
              </a:spcAft>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29" hasCustomPrompt="1"/>
          </p:nvPr>
        </p:nvSpPr>
        <p:spPr>
          <a:xfrm>
            <a:off x="630936" y="1552681"/>
            <a:ext cx="6261847" cy="307777"/>
          </a:xfrm>
        </p:spPr>
        <p:txBody>
          <a:bodyPr anchor="b"/>
          <a:lstStyle>
            <a:lvl1pPr>
              <a:lnSpc>
                <a:spcPct val="100000"/>
              </a:lnSpc>
              <a:buNone/>
              <a:defRPr sz="2000">
                <a:solidFill>
                  <a:schemeClr val="tx2"/>
                </a:solidFill>
                <a:latin typeface="+mj-lt"/>
              </a:defRPr>
            </a:lvl1pPr>
            <a:lvl2pPr marL="114300" indent="0">
              <a:buNone/>
              <a:defRPr sz="2000">
                <a:solidFill>
                  <a:schemeClr val="tx2"/>
                </a:solidFill>
              </a:defRPr>
            </a:lvl2pPr>
            <a:lvl3pPr marL="514350" indent="0">
              <a:buNone/>
              <a:defRPr sz="2000">
                <a:solidFill>
                  <a:schemeClr val="tx2"/>
                </a:solidFill>
              </a:defRPr>
            </a:lvl3pPr>
            <a:lvl4pPr>
              <a:buNone/>
              <a:defRPr sz="2000">
                <a:solidFill>
                  <a:schemeClr val="tx2"/>
                </a:solidFill>
              </a:defRPr>
            </a:lvl4pPr>
            <a:lvl5pPr>
              <a:buNone/>
              <a:defRPr sz="2000">
                <a:solidFill>
                  <a:schemeClr val="tx2"/>
                </a:solidFill>
              </a:defRPr>
            </a:lvl5pPr>
          </a:lstStyle>
          <a:p>
            <a:pPr lvl="0"/>
            <a:r>
              <a:rPr lang="en-US"/>
              <a:t>Click to edit heading text</a:t>
            </a:r>
          </a:p>
        </p:txBody>
      </p:sp>
      <p:sp>
        <p:nvSpPr>
          <p:cNvPr id="15" name="Footer Placeholder 10"/>
          <p:cNvSpPr>
            <a:spLocks noGrp="1"/>
          </p:cNvSpPr>
          <p:nvPr>
            <p:ph type="ftr" sz="quarter" idx="11"/>
          </p:nvPr>
        </p:nvSpPr>
        <p:spPr>
          <a:xfrm rot="16200000">
            <a:off x="10558564" y="5084210"/>
            <a:ext cx="2743200" cy="153888"/>
          </a:xfrm>
        </p:spPr>
        <p:txBody>
          <a:bodyPr/>
          <a:lstStyle>
            <a:lvl1pPr>
              <a:defRPr>
                <a:solidFill>
                  <a:schemeClr val="bg1"/>
                </a:solidFill>
                <a:latin typeface="+mj-lt"/>
              </a:defRPr>
            </a:lvl1pPr>
          </a:lstStyle>
          <a:p>
            <a:endParaRPr lang="en-US">
              <a:solidFill>
                <a:prstClr val="white"/>
              </a:solidFill>
            </a:endParaRPr>
          </a:p>
        </p:txBody>
      </p:sp>
      <p:sp>
        <p:nvSpPr>
          <p:cNvPr id="17" name="Title 4"/>
          <p:cNvSpPr>
            <a:spLocks noGrp="1"/>
          </p:cNvSpPr>
          <p:nvPr>
            <p:ph type="title"/>
          </p:nvPr>
        </p:nvSpPr>
        <p:spPr>
          <a:xfrm>
            <a:off x="630936" y="651898"/>
            <a:ext cx="6261847" cy="332399"/>
          </a:xfrm>
        </p:spPr>
        <p:txBody>
          <a:bodyPr/>
          <a:lstStyle>
            <a:lvl1pPr>
              <a:defRPr sz="2400"/>
            </a:lvl1pPr>
          </a:lstStyle>
          <a:p>
            <a:r>
              <a:rPr lang="en-US"/>
              <a:t>Click to edit Master title style</a:t>
            </a:r>
          </a:p>
        </p:txBody>
      </p:sp>
      <p:sp>
        <p:nvSpPr>
          <p:cNvPr id="16" name="TextBox 15">
            <a:extLst>
              <a:ext uri="{FF2B5EF4-FFF2-40B4-BE49-F238E27FC236}">
                <a16:creationId xmlns:a16="http://schemas.microsoft.com/office/drawing/2014/main" id="{6CE7DDA0-310C-465E-BE0E-FE04AE364DFF}"/>
              </a:ext>
            </a:extLst>
          </p:cNvPr>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srgbClr val="FFFFFF"/>
                </a:solidFill>
                <a:latin typeface="BebasNeueRegular" panose="020B0606020202050201" pitchFamily="34" charset="0"/>
              </a:rPr>
              <a:pPr algn="r">
                <a:defRPr/>
              </a:pPr>
              <a:t>‹#›</a:t>
            </a:fld>
            <a:endParaRPr lang="en-US" sz="2000" dirty="0">
              <a:solidFill>
                <a:srgbClr val="FFFFFF"/>
              </a:solidFill>
              <a:latin typeface="BebasNeueRegular" panose="020B0606020202050201" pitchFamily="34" charset="0"/>
            </a:endParaRPr>
          </a:p>
        </p:txBody>
      </p:sp>
      <p:sp>
        <p:nvSpPr>
          <p:cNvPr id="13" name="TextBox 12">
            <a:extLst>
              <a:ext uri="{FF2B5EF4-FFF2-40B4-BE49-F238E27FC236}">
                <a16:creationId xmlns:a16="http://schemas.microsoft.com/office/drawing/2014/main" id="{93A72569-73DE-4D6E-BB9B-138553775606}"/>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93694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513236-D039-4862-B5C4-E8D5821E47AB}"/>
              </a:ext>
            </a:extLst>
          </p:cNvPr>
          <p:cNvGraphicFramePr>
            <a:graphicFrameLocks noChangeAspect="1"/>
          </p:cNvGraphicFramePr>
          <p:nvPr userDrawn="1">
            <p:custDataLst>
              <p:tags r:id="rId2"/>
            </p:custDataLst>
            <p:extLst>
              <p:ext uri="{D42A27DB-BD31-4B8C-83A1-F6EECF244321}">
                <p14:modId xmlns:p14="http://schemas.microsoft.com/office/powerpoint/2010/main" val="2053149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7"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2" descr="C:\Users\haley\Desktop\Picture1.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11" name="Text Placeholder 20"/>
          <p:cNvSpPr>
            <a:spLocks noGrp="1"/>
          </p:cNvSpPr>
          <p:nvPr>
            <p:ph type="body" sz="quarter" idx="13" hasCustomPrompt="1"/>
          </p:nvPr>
        </p:nvSpPr>
        <p:spPr>
          <a:xfrm>
            <a:off x="5597341" y="2181907"/>
            <a:ext cx="5335156" cy="2511457"/>
          </a:xfrm>
          <a:ln>
            <a:solidFill>
              <a:schemeClr val="bg1"/>
            </a:solidFill>
          </a:ln>
        </p:spPr>
        <p:txBody>
          <a:bodyPr wrap="square" lIns="91440" tIns="91440" rIns="91440" bIns="91440" anchor="ctr">
            <a:spAutoFit/>
          </a:bodyPr>
          <a:lstStyle>
            <a:lvl1pPr>
              <a:lnSpc>
                <a:spcPct val="105000"/>
              </a:lnSpc>
              <a:spcBef>
                <a:spcPts val="600"/>
              </a:spcBef>
              <a:spcAft>
                <a:spcPts val="300"/>
              </a:spcAft>
              <a:buNone/>
              <a:defRPr sz="2400" baseline="0">
                <a:solidFill>
                  <a:schemeClr val="bg1"/>
                </a:solidFill>
                <a:latin typeface="+mj-lt"/>
              </a:defRPr>
            </a:lvl1pPr>
            <a:lvl2pPr marL="0" indent="0">
              <a:lnSpc>
                <a:spcPct val="107000"/>
              </a:lnSpc>
              <a:buClr>
                <a:schemeClr val="bg1"/>
              </a:buClr>
              <a:buNone/>
              <a:defRPr sz="1400" i="0">
                <a:solidFill>
                  <a:schemeClr val="tx1"/>
                </a:solidFill>
              </a:defRPr>
            </a:lvl2pPr>
            <a:lvl3pPr marL="0" indent="0">
              <a:buNone/>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baseline="0"/>
            </a:lvl8pPr>
            <a:lvl9pPr>
              <a:defRPr baseline="0"/>
            </a:lvl9pPr>
          </a:lstStyle>
          <a:p>
            <a:pPr lvl="0"/>
            <a:r>
              <a:rPr lang="en-US" dirty="0"/>
              <a:t>Click to add chapters. Space will grow with each line break. Match the line breaks and page numbers. </a:t>
            </a:r>
            <a:br>
              <a:rPr lang="en-US" dirty="0"/>
            </a:br>
            <a:r>
              <a:rPr lang="en-US" dirty="0"/>
              <a:t>If a chapter runs over one line long, the page number will need a corresponding soft return after it.</a:t>
            </a:r>
          </a:p>
        </p:txBody>
      </p:sp>
      <p:sp>
        <p:nvSpPr>
          <p:cNvPr id="14" name="TextBox 13"/>
          <p:cNvSpPr txBox="1"/>
          <p:nvPr/>
        </p:nvSpPr>
        <p:spPr>
          <a:xfrm>
            <a:off x="630936"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FC77E"/>
                </a:solidFill>
              </a:rPr>
              <a:t>Table of Contents</a:t>
            </a:r>
          </a:p>
        </p:txBody>
      </p:sp>
      <p:sp>
        <p:nvSpPr>
          <p:cNvPr id="15" name="Text Placeholder 11"/>
          <p:cNvSpPr>
            <a:spLocks noGrp="1"/>
          </p:cNvSpPr>
          <p:nvPr>
            <p:ph type="body" sz="quarter" idx="14" hasCustomPrompt="1"/>
          </p:nvPr>
        </p:nvSpPr>
        <p:spPr>
          <a:xfrm>
            <a:off x="4477239" y="3245650"/>
            <a:ext cx="824033" cy="387798"/>
          </a:xfrm>
        </p:spPr>
        <p:txBody>
          <a:bodyPr anchor="ctr">
            <a:spAutoFit/>
          </a:bodyPr>
          <a:lstStyle>
            <a:lvl1pPr algn="r">
              <a:lnSpc>
                <a:spcPct val="105000"/>
              </a:lnSpc>
              <a:buNone/>
              <a:defRPr sz="2400">
                <a:solidFill>
                  <a:schemeClr val="bg1"/>
                </a:solidFill>
                <a:latin typeface="+mj-lt"/>
              </a:defRPr>
            </a:lvl1pPr>
            <a:lvl2pPr marL="0" indent="0">
              <a:buNone/>
              <a:defRPr/>
            </a:lvl2pPr>
            <a:lvl3pPr marL="173736" indent="0">
              <a:buNone/>
              <a:defRPr/>
            </a:lvl3pPr>
            <a:lvl4pPr>
              <a:buNone/>
              <a:defRPr/>
            </a:lvl4pPr>
            <a:lvl5pPr marL="347472" indent="0">
              <a:buNone/>
              <a:defRPr/>
            </a:lvl5pPr>
          </a:lstStyle>
          <a:p>
            <a:pPr lvl="0"/>
            <a:r>
              <a:rPr lang="en-US" dirty="0"/>
              <a:t>###</a:t>
            </a:r>
          </a:p>
        </p:txBody>
      </p:sp>
      <p:pic>
        <p:nvPicPr>
          <p:cNvPr id="16" name="Picture 2" descr="C:\Users\haley\Desktop\Picture1.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endParaRPr>
          </a:p>
        </p:txBody>
      </p:sp>
      <p:sp>
        <p:nvSpPr>
          <p:cNvPr id="20" name="TextBox 19"/>
          <p:cNvSpPr txBox="1"/>
          <p:nvPr userDrawn="1"/>
        </p:nvSpPr>
        <p:spPr>
          <a:xfrm>
            <a:off x="630936"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chemeClr val="tx2"/>
                </a:solidFill>
              </a:rPr>
              <a:t>Table of Contents</a:t>
            </a:r>
          </a:p>
        </p:txBody>
      </p:sp>
      <p:sp>
        <p:nvSpPr>
          <p:cNvPr id="21" name="TextBox 2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2" name="TextBox 2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3" name="Footer Placeholder 10"/>
          <p:cNvSpPr>
            <a:spLocks noGrp="1"/>
          </p:cNvSpPr>
          <p:nvPr>
            <p:ph type="ftr" sz="quarter" idx="11"/>
          </p:nvPr>
        </p:nvSpPr>
        <p:spPr>
          <a:xfrm rot="16200000">
            <a:off x="10558564" y="5107293"/>
            <a:ext cx="2743200" cy="107722"/>
          </a:xfrm>
        </p:spPr>
        <p:txBody>
          <a:bodyPr/>
          <a:lstStyle>
            <a:lvl1pPr>
              <a:defRPr>
                <a:solidFill>
                  <a:schemeClr val="bg1"/>
                </a:solidFill>
              </a:defRPr>
            </a:lvl1pPr>
          </a:lstStyle>
          <a:p>
            <a:endParaRPr lang="en-US">
              <a:solidFill>
                <a:prstClr val="white"/>
              </a:solidFill>
            </a:endParaRPr>
          </a:p>
        </p:txBody>
      </p:sp>
      <p:sp>
        <p:nvSpPr>
          <p:cNvPr id="18" name="TextBox 17">
            <a:extLst>
              <a:ext uri="{FF2B5EF4-FFF2-40B4-BE49-F238E27FC236}">
                <a16:creationId xmlns:a16="http://schemas.microsoft.com/office/drawing/2014/main" id="{8FD31FCF-0A24-483B-8A6A-BA92D4A25E3A}"/>
              </a:ext>
            </a:extLst>
          </p:cNvPr>
          <p:cNvSpPr txBox="1"/>
          <p:nvPr userDrawn="1"/>
        </p:nvSpPr>
        <p:spPr>
          <a:xfrm>
            <a:off x="620364" y="6251147"/>
            <a:ext cx="2883348" cy="307777"/>
          </a:xfrm>
          <a:prstGeom prst="rect">
            <a:avLst/>
          </a:prstGeom>
          <a:noFill/>
        </p:spPr>
        <p:txBody>
          <a:bodyPr wrap="square" lIns="0" tIns="0" rIns="0" bIns="0" rtlCol="0" anchor="b">
            <a:spAutoFit/>
          </a:bodyPr>
          <a:lstStyle/>
          <a:p>
            <a:pPr algn="l">
              <a:defRPr/>
            </a:pPr>
            <a:r>
              <a:rPr lang="en-US" sz="2000" dirty="0">
                <a:solidFill>
                  <a:prstClr val="white">
                    <a:lumMod val="65000"/>
                  </a:prstClr>
                </a:solidFill>
                <a:latin typeface="BebasNeueRegular" panose="020B0606020202050201" pitchFamily="34" charset="0"/>
              </a:rPr>
              <a:t>Smart Cities and Regions: Mobility</a:t>
            </a:r>
          </a:p>
        </p:txBody>
      </p:sp>
    </p:spTree>
    <p:extLst>
      <p:ext uri="{BB962C8B-B14F-4D97-AF65-F5344CB8AC3E}">
        <p14:creationId xmlns:p14="http://schemas.microsoft.com/office/powerpoint/2010/main" val="2302798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D. Four column gree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57390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1" name="think-cell Slide" r:id="rId4" imgW="420" imgH="420" progId="TCLayout.ActiveDocument.1">
                  <p:embed/>
                </p:oleObj>
              </mc:Choice>
              <mc:Fallback>
                <p:oleObj name="think-cell Slide" r:id="rId4" imgW="420" imgH="42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cstate="screen">
            <a:extLst>
              <a:ext uri="{28A0092B-C50C-407E-A947-70E740481C1C}">
                <a14:useLocalDpi xmlns:a14="http://schemas.microsoft.com/office/drawing/2010/main"/>
              </a:ext>
            </a:extLst>
          </a:blip>
          <a:srcRect l="1731" t="8741" r="102" b="27"/>
          <a:stretch/>
        </p:blipFill>
        <p:spPr>
          <a:xfrm rot="10800000" flipH="1">
            <a:off x="2999657" y="0"/>
            <a:ext cx="703785" cy="6858000"/>
          </a:xfrm>
          <a:prstGeom prst="rect">
            <a:avLst/>
          </a:prstGeom>
        </p:spPr>
      </p:pic>
      <p:sp>
        <p:nvSpPr>
          <p:cNvPr id="12" name="Rectangle 11"/>
          <p:cNvSpPr/>
          <p:nvPr/>
        </p:nvSpPr>
        <p:spPr bwMode="ltGray">
          <a:xfrm>
            <a:off x="11683" y="0"/>
            <a:ext cx="3148864" cy="6858000"/>
          </a:xfrm>
          <a:prstGeom prst="rect">
            <a:avLst/>
          </a:prstGeom>
          <a:gradFill flip="none" rotWithShape="1">
            <a:gsLst>
              <a:gs pos="0">
                <a:schemeClr val="tx2"/>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buSzPts val="1200"/>
            </a:pPr>
            <a:endParaRPr lang="en-US" sz="1200">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Tree>
    <p:extLst>
      <p:ext uri="{BB962C8B-B14F-4D97-AF65-F5344CB8AC3E}">
        <p14:creationId xmlns:p14="http://schemas.microsoft.com/office/powerpoint/2010/main" val="49102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One thir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7B930A-043C-4D40-9058-BB0232B3E200}"/>
              </a:ext>
            </a:extLst>
          </p:cNvPr>
          <p:cNvGraphicFramePr>
            <a:graphicFrameLocks noChangeAspect="1"/>
          </p:cNvGraphicFramePr>
          <p:nvPr userDrawn="1">
            <p:custDataLst>
              <p:tags r:id="rId2"/>
            </p:custDataLst>
            <p:extLst>
              <p:ext uri="{D42A27DB-BD31-4B8C-83A1-F6EECF244321}">
                <p14:modId xmlns:p14="http://schemas.microsoft.com/office/powerpoint/2010/main" val="1682993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B0813E6-7510-4030-89E9-D8619539CD3C}"/>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24"/>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25"/>
          </p:nvPr>
        </p:nvSpPr>
        <p:spPr/>
        <p:txBody>
          <a:bodyPr/>
          <a:lstStyle/>
          <a:p>
            <a:endParaRPr lang="en-US" dirty="0">
              <a:solidFill>
                <a:prstClr val="white">
                  <a:lumMod val="65000"/>
                </a:prstClr>
              </a:solidFill>
            </a:endParaRPr>
          </a:p>
        </p:txBody>
      </p:sp>
      <p:sp>
        <p:nvSpPr>
          <p:cNvPr id="9" name="Text Placeholder 4"/>
          <p:cNvSpPr>
            <a:spLocks noGrp="1"/>
          </p:cNvSpPr>
          <p:nvPr>
            <p:ph type="body" sz="quarter" idx="14" hasCustomPrompt="1"/>
          </p:nvPr>
        </p:nvSpPr>
        <p:spPr>
          <a:xfrm>
            <a:off x="633414" y="2084386"/>
            <a:ext cx="3438144"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5" hasCustomPrompt="1"/>
          </p:nvPr>
        </p:nvSpPr>
        <p:spPr>
          <a:xfrm>
            <a:off x="5316996" y="2084386"/>
            <a:ext cx="6245352"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0733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thir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212437-B141-414C-89A7-8C147782741B}"/>
              </a:ext>
            </a:extLst>
          </p:cNvPr>
          <p:cNvGraphicFramePr>
            <a:graphicFrameLocks noChangeAspect="1"/>
          </p:cNvGraphicFramePr>
          <p:nvPr userDrawn="1">
            <p:custDataLst>
              <p:tags r:id="rId2"/>
            </p:custDataLst>
            <p:extLst>
              <p:ext uri="{D42A27DB-BD31-4B8C-83A1-F6EECF244321}">
                <p14:modId xmlns:p14="http://schemas.microsoft.com/office/powerpoint/2010/main" val="377792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DA5FC81-5AA5-4AFF-83F6-92D347D2E7C0}"/>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24"/>
          </p:nvPr>
        </p:nvSpPr>
        <p:spPr/>
        <p:txBody>
          <a:bodyPr/>
          <a:lstStyle/>
          <a:p>
            <a:endParaRPr lang="en-US" dirty="0">
              <a:solidFill>
                <a:prstClr val="white">
                  <a:lumMod val="65000"/>
                </a:prstClr>
              </a:solidFill>
            </a:endParaRPr>
          </a:p>
        </p:txBody>
      </p:sp>
      <p:sp>
        <p:nvSpPr>
          <p:cNvPr id="4" name="Footer Placeholder 3"/>
          <p:cNvSpPr>
            <a:spLocks noGrp="1"/>
          </p:cNvSpPr>
          <p:nvPr>
            <p:ph type="ftr" sz="quarter" idx="25"/>
          </p:nvPr>
        </p:nvSpPr>
        <p:spPr/>
        <p:txBody>
          <a:bodyPr/>
          <a:lstStyle/>
          <a:p>
            <a:endParaRPr lang="en-US" dirty="0">
              <a:solidFill>
                <a:prstClr val="white">
                  <a:lumMod val="65000"/>
                </a:prstClr>
              </a:solidFill>
            </a:endParaRPr>
          </a:p>
        </p:txBody>
      </p:sp>
      <p:sp>
        <p:nvSpPr>
          <p:cNvPr id="9" name="Text Placeholder 4"/>
          <p:cNvSpPr>
            <a:spLocks noGrp="1"/>
          </p:cNvSpPr>
          <p:nvPr>
            <p:ph type="body" sz="quarter" idx="14" hasCustomPrompt="1"/>
          </p:nvPr>
        </p:nvSpPr>
        <p:spPr>
          <a:xfrm>
            <a:off x="633414" y="2084387"/>
            <a:ext cx="6245352" cy="2206758"/>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5" hasCustomPrompt="1"/>
          </p:nvPr>
        </p:nvSpPr>
        <p:spPr>
          <a:xfrm>
            <a:off x="8121396" y="2084386"/>
            <a:ext cx="3438144"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368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6962AB-BC53-4644-A76E-FDAE0B47CC29}"/>
              </a:ext>
            </a:extLst>
          </p:cNvPr>
          <p:cNvGraphicFramePr>
            <a:graphicFrameLocks noChangeAspect="1"/>
          </p:cNvGraphicFramePr>
          <p:nvPr userDrawn="1">
            <p:custDataLst>
              <p:tags r:id="rId2"/>
            </p:custDataLst>
            <p:extLst>
              <p:ext uri="{D42A27DB-BD31-4B8C-83A1-F6EECF244321}">
                <p14:modId xmlns:p14="http://schemas.microsoft.com/office/powerpoint/2010/main" val="1821314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5815B4-C52E-4EDD-BDC6-F0B9807A31D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0" name="Title 9"/>
          <p:cNvSpPr>
            <a:spLocks noGrp="1"/>
          </p:cNvSpPr>
          <p:nvPr>
            <p:ph type="title"/>
          </p:nvPr>
        </p:nvSpPr>
        <p:spPr/>
        <p:txBody>
          <a:bodyPr/>
          <a:lstStyle/>
          <a:p>
            <a:r>
              <a:rPr lang="en-US"/>
              <a:t>Click to edit Master title style</a:t>
            </a:r>
            <a:endParaRPr lang="en-US" dirty="0"/>
          </a:p>
        </p:txBody>
      </p:sp>
      <p:sp>
        <p:nvSpPr>
          <p:cNvPr id="8" name="Text Placeholder 4"/>
          <p:cNvSpPr>
            <a:spLocks noGrp="1"/>
          </p:cNvSpPr>
          <p:nvPr>
            <p:ph type="body" sz="quarter" idx="14" hasCustomPrompt="1"/>
          </p:nvPr>
        </p:nvSpPr>
        <p:spPr>
          <a:xfrm>
            <a:off x="633413" y="2661084"/>
            <a:ext cx="53254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p:cNvSpPr>
            <a:spLocks noGrp="1"/>
          </p:cNvSpPr>
          <p:nvPr>
            <p:ph type="body" sz="quarter" idx="15" hasCustomPrompt="1"/>
          </p:nvPr>
        </p:nvSpPr>
        <p:spPr>
          <a:xfrm>
            <a:off x="6236923" y="2661084"/>
            <a:ext cx="5325425" cy="2206758"/>
          </a:xfrm>
        </p:spPr>
        <p:txBody>
          <a:bodyPr>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6" hasCustomPrompt="1"/>
          </p:nvPr>
        </p:nvSpPr>
        <p:spPr>
          <a:xfrm>
            <a:off x="637030" y="2163151"/>
            <a:ext cx="5321808" cy="332399"/>
          </a:xfrm>
        </p:spPr>
        <p:txBody>
          <a:bodyPr anchor="b"/>
          <a:lstStyle>
            <a:lvl1pPr>
              <a:lnSpc>
                <a:spcPct val="90000"/>
              </a:lnSpc>
              <a:buNone/>
              <a:defRPr>
                <a:solidFill>
                  <a:schemeClr val="tx2"/>
                </a:solidFill>
                <a:latin typeface="+mn-lt"/>
              </a:defRPr>
            </a:lvl1pPr>
          </a:lstStyle>
          <a:p>
            <a:pPr lvl="0"/>
            <a:r>
              <a:rPr lang="en-US"/>
              <a:t>Click to edit heading text</a:t>
            </a:r>
          </a:p>
        </p:txBody>
      </p:sp>
      <p:sp>
        <p:nvSpPr>
          <p:cNvPr id="68" name="Text Placeholder 6"/>
          <p:cNvSpPr>
            <a:spLocks noGrp="1"/>
          </p:cNvSpPr>
          <p:nvPr>
            <p:ph type="body" sz="quarter" idx="17" hasCustomPrompt="1"/>
          </p:nvPr>
        </p:nvSpPr>
        <p:spPr>
          <a:xfrm>
            <a:off x="6237780" y="2163151"/>
            <a:ext cx="5321808" cy="332399"/>
          </a:xfrm>
        </p:spPr>
        <p:txBody>
          <a:bodyPr anchor="b"/>
          <a:lstStyle>
            <a:lvl1pPr>
              <a:lnSpc>
                <a:spcPct val="90000"/>
              </a:lnSpc>
              <a:buNone/>
              <a:defRPr>
                <a:solidFill>
                  <a:schemeClr val="tx2"/>
                </a:solidFill>
                <a:latin typeface="+mn-lt"/>
              </a:defRPr>
            </a:lvl1pPr>
          </a:lstStyle>
          <a:p>
            <a:pPr lvl="0"/>
            <a:r>
              <a:rPr lang="en-US"/>
              <a:t>Click to edit heading text</a:t>
            </a:r>
          </a:p>
        </p:txBody>
      </p:sp>
      <p:sp>
        <p:nvSpPr>
          <p:cNvPr id="69" name="Date Placeholder 68"/>
          <p:cNvSpPr>
            <a:spLocks noGrp="1"/>
          </p:cNvSpPr>
          <p:nvPr>
            <p:ph type="dt" sz="half" idx="18"/>
          </p:nvPr>
        </p:nvSpPr>
        <p:spPr/>
        <p:txBody>
          <a:bodyPr/>
          <a:lstStyle/>
          <a:p>
            <a:endParaRPr lang="en-US" dirty="0">
              <a:solidFill>
                <a:prstClr val="white">
                  <a:lumMod val="65000"/>
                </a:prstClr>
              </a:solidFill>
            </a:endParaRPr>
          </a:p>
        </p:txBody>
      </p:sp>
      <p:sp>
        <p:nvSpPr>
          <p:cNvPr id="70" name="Footer Placeholder 69"/>
          <p:cNvSpPr>
            <a:spLocks noGrp="1"/>
          </p:cNvSpPr>
          <p:nvPr>
            <p:ph type="ftr" sz="quarter" idx="19"/>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1597681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9C9187-E1BB-47EE-9A78-482AC51A6A9E}"/>
              </a:ext>
            </a:extLst>
          </p:cNvPr>
          <p:cNvGraphicFramePr>
            <a:graphicFrameLocks noChangeAspect="1"/>
          </p:cNvGraphicFramePr>
          <p:nvPr userDrawn="1">
            <p:custDataLst>
              <p:tags r:id="rId2"/>
            </p:custDataLst>
            <p:extLst>
              <p:ext uri="{D42A27DB-BD31-4B8C-83A1-F6EECF244321}">
                <p14:modId xmlns:p14="http://schemas.microsoft.com/office/powerpoint/2010/main" val="20555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6161CE0-8A9E-4CCD-839A-F28BF90A19D6}"/>
              </a:ext>
            </a:extLst>
          </p:cNvPr>
          <p:cNvSpPr/>
          <p:nvPr userDrawn="1">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7" name="Title 6"/>
          <p:cNvSpPr>
            <a:spLocks noGrp="1"/>
          </p:cNvSpPr>
          <p:nvPr>
            <p:ph type="title"/>
          </p:nvPr>
        </p:nvSpPr>
        <p:spPr/>
        <p:txBody>
          <a:bodyPr/>
          <a:lstStyle/>
          <a:p>
            <a:r>
              <a:rPr lang="en-US"/>
              <a:t>Click to edit Master title style</a:t>
            </a:r>
            <a:endParaRPr lang="en-US" dirty="0"/>
          </a:p>
        </p:txBody>
      </p:sp>
      <p:sp>
        <p:nvSpPr>
          <p:cNvPr id="9" name="Text Placeholder 4"/>
          <p:cNvSpPr>
            <a:spLocks noGrp="1"/>
          </p:cNvSpPr>
          <p:nvPr>
            <p:ph type="body" sz="quarter" idx="14" hasCustomPrompt="1"/>
          </p:nvPr>
        </p:nvSpPr>
        <p:spPr>
          <a:xfrm>
            <a:off x="633414" y="2084386"/>
            <a:ext cx="3444810"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5" hasCustomPrompt="1"/>
          </p:nvPr>
        </p:nvSpPr>
        <p:spPr>
          <a:xfrm>
            <a:off x="4366259" y="2084386"/>
            <a:ext cx="3444810"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p:cNvSpPr>
            <a:spLocks noGrp="1"/>
          </p:cNvSpPr>
          <p:nvPr>
            <p:ph type="body" sz="quarter" idx="16" hasCustomPrompt="1"/>
          </p:nvPr>
        </p:nvSpPr>
        <p:spPr>
          <a:xfrm>
            <a:off x="8101583" y="2084386"/>
            <a:ext cx="3444810" cy="2613023"/>
          </a:xfrm>
        </p:spPr>
        <p:txBody>
          <a:bodyPr wrap="square">
            <a:sp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7"/>
          </p:nvPr>
        </p:nvSpPr>
        <p:spPr/>
        <p:txBody>
          <a:bodyPr/>
          <a:lstStyle/>
          <a:p>
            <a:endParaRPr lang="en-US" dirty="0">
              <a:solidFill>
                <a:prstClr val="white">
                  <a:lumMod val="65000"/>
                </a:prstClr>
              </a:solidFill>
            </a:endParaRPr>
          </a:p>
        </p:txBody>
      </p:sp>
      <p:sp>
        <p:nvSpPr>
          <p:cNvPr id="5" name="Footer Placeholder 4"/>
          <p:cNvSpPr>
            <a:spLocks noGrp="1"/>
          </p:cNvSpPr>
          <p:nvPr>
            <p:ph type="ftr" sz="quarter" idx="18"/>
          </p:nvPr>
        </p:nvSpPr>
        <p:spPr/>
        <p:txBody>
          <a:bodyPr/>
          <a:lstStyle/>
          <a:p>
            <a:endParaRPr lang="en-US" dirty="0">
              <a:solidFill>
                <a:prstClr val="white">
                  <a:lumMod val="65000"/>
                </a:prstClr>
              </a:solidFill>
            </a:endParaRPr>
          </a:p>
        </p:txBody>
      </p:sp>
    </p:spTree>
    <p:extLst>
      <p:ext uri="{BB962C8B-B14F-4D97-AF65-F5344CB8AC3E}">
        <p14:creationId xmlns:p14="http://schemas.microsoft.com/office/powerpoint/2010/main" val="626113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vmlDrawing" Target="../drawings/vmlDrawing1.vml"/><Relationship Id="rId65"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61"/>
            </p:custDataLst>
            <p:extLst>
              <p:ext uri="{D42A27DB-BD31-4B8C-83A1-F6EECF244321}">
                <p14:modId xmlns:p14="http://schemas.microsoft.com/office/powerpoint/2010/main" val="1556205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9" name="think-cell Slide" r:id="rId63" imgW="270" imgH="270" progId="TCLayout.ActiveDocument.1">
                  <p:embed/>
                </p:oleObj>
              </mc:Choice>
              <mc:Fallback>
                <p:oleObj name="think-cell Slide" r:id="rId63" imgW="270" imgH="270" progId="TCLayout.ActiveDocument.1">
                  <p:embed/>
                  <p:pic>
                    <p:nvPicPr>
                      <p:cNvPr id="0" name=""/>
                      <p:cNvPicPr/>
                      <p:nvPr/>
                    </p:nvPicPr>
                    <p:blipFill>
                      <a:blip r:embed="rId64"/>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66478D2-393E-4E3C-99EB-270F70143DD2}"/>
              </a:ext>
            </a:extLst>
          </p:cNvPr>
          <p:cNvSpPr/>
          <p:nvPr userDrawn="1">
            <p:custDataLst>
              <p:tags r:id="rId62"/>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000" b="0" i="0" baseline="0" dirty="0">
              <a:solidFill>
                <a:schemeClr val="bg1"/>
              </a:solidFill>
              <a:latin typeface="BebasNeueRegular" panose="020B0606020202050201" pitchFamily="34" charset="0"/>
              <a:ea typeface="+mj-ea"/>
              <a:cs typeface="+mj-cs"/>
              <a:sym typeface="BebasNeueRegular" panose="020B0606020202050201" pitchFamily="34" charset="0"/>
            </a:endParaRPr>
          </a:p>
        </p:txBody>
      </p:sp>
      <p:pic>
        <p:nvPicPr>
          <p:cNvPr id="4" name="Object 3"/>
          <p:cNvPicPr>
            <a:picLocks noChangeAspect="1"/>
          </p:cNvPicPr>
          <p:nvPr/>
        </p:nvPicPr>
        <p:blipFill>
          <a:blip r:embed="rId65"/>
          <a:srcRect/>
          <a:stretch>
            <a:fillRect/>
          </a:stretch>
        </p:blipFill>
        <p:spPr bwMode="auto">
          <a:xfrm>
            <a:off x="1588" y="1588"/>
            <a:ext cx="1587" cy="1587"/>
          </a:xfrm>
          <a:prstGeom prst="rect">
            <a:avLst/>
          </a:prstGeom>
          <a:noFill/>
        </p:spPr>
      </p:pic>
      <p:sp>
        <p:nvSpPr>
          <p:cNvPr id="2" name="Title Placeholder 1"/>
          <p:cNvSpPr>
            <a:spLocks noGrp="1"/>
          </p:cNvSpPr>
          <p:nvPr>
            <p:ph type="title"/>
          </p:nvPr>
        </p:nvSpPr>
        <p:spPr>
          <a:xfrm>
            <a:off x="620364" y="586265"/>
            <a:ext cx="10917936" cy="854080"/>
          </a:xfrm>
          <a:prstGeom prst="rect">
            <a:avLst/>
          </a:prstGeom>
        </p:spPr>
        <p:txBody>
          <a:bodyPr vert="horz" wrap="square" lIns="0" tIns="0" rIns="0" bIns="0" rtlCol="0" anchor="b">
            <a:spAutoFit/>
          </a:bodyPr>
          <a:lstStyle/>
          <a:p>
            <a:r>
              <a:rPr lang="en-US"/>
              <a:t>Click to edit Master title style</a:t>
            </a:r>
            <a:endParaRPr lang="en-US" dirty="0"/>
          </a:p>
        </p:txBody>
      </p:sp>
      <p:sp>
        <p:nvSpPr>
          <p:cNvPr id="3" name="Text Placeholder 2"/>
          <p:cNvSpPr>
            <a:spLocks noGrp="1"/>
          </p:cNvSpPr>
          <p:nvPr>
            <p:ph type="body" idx="1"/>
          </p:nvPr>
        </p:nvSpPr>
        <p:spPr>
          <a:xfrm>
            <a:off x="634650" y="2084830"/>
            <a:ext cx="10917936" cy="2206758"/>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p:cNvSpPr>
            <a:spLocks noGrp="1"/>
          </p:cNvSpPr>
          <p:nvPr>
            <p:ph type="dt" sz="half" idx="2"/>
          </p:nvPr>
        </p:nvSpPr>
        <p:spPr>
          <a:xfrm>
            <a:off x="9716332" y="6251147"/>
            <a:ext cx="1296897" cy="307777"/>
          </a:xfrm>
          <a:prstGeom prst="rect">
            <a:avLst/>
          </a:prstGeom>
        </p:spPr>
        <p:txBody>
          <a:bodyPr vert="horz" wrap="square" lIns="0" tIns="0" rIns="0" bIns="0" rtlCol="0" anchor="b">
            <a:spAutoFit/>
          </a:bodyPr>
          <a:lstStyle>
            <a:lvl1pPr algn="r">
              <a:defRPr sz="2000">
                <a:solidFill>
                  <a:schemeClr val="bg1">
                    <a:lumMod val="65000"/>
                  </a:schemeClr>
                </a:solidFill>
                <a:latin typeface="BebasNeueRegular" panose="020B0606020202050201" pitchFamily="34" charset="0"/>
              </a:defRPr>
            </a:lvl1pPr>
          </a:lstStyle>
          <a:p>
            <a:r>
              <a:rPr lang="en-US" dirty="0">
                <a:solidFill>
                  <a:prstClr val="white">
                    <a:lumMod val="65000"/>
                  </a:prstClr>
                </a:solidFill>
              </a:rPr>
              <a:t>July 18, 2017</a:t>
            </a:r>
          </a:p>
        </p:txBody>
      </p:sp>
      <p:sp>
        <p:nvSpPr>
          <p:cNvPr id="6" name="Footer Placeholder 4"/>
          <p:cNvSpPr>
            <a:spLocks noGrp="1"/>
          </p:cNvSpPr>
          <p:nvPr>
            <p:ph type="ftr" sz="quarter" idx="3"/>
          </p:nvPr>
        </p:nvSpPr>
        <p:spPr>
          <a:xfrm>
            <a:off x="3719736" y="6214797"/>
            <a:ext cx="5723050" cy="344128"/>
          </a:xfrm>
          <a:prstGeom prst="rect">
            <a:avLst/>
          </a:prstGeom>
        </p:spPr>
        <p:txBody>
          <a:bodyPr vert="horz" wrap="square" lIns="0" tIns="0" rIns="0" bIns="36000" rtlCol="0" anchor="b">
            <a:spAutoFit/>
          </a:bodyPr>
          <a:lstStyle>
            <a:lvl1pPr algn="l">
              <a:defRPr sz="1000">
                <a:solidFill>
                  <a:schemeClr val="bg1">
                    <a:lumMod val="65000"/>
                  </a:schemeClr>
                </a:solidFill>
                <a:latin typeface="BebasNeueRegular" panose="020B0606020202050201" pitchFamily="34" charset="0"/>
              </a:defRPr>
            </a:lvl1pPr>
          </a:lstStyle>
          <a:p>
            <a:r>
              <a:rPr lang="cs-CZ" dirty="0" err="1">
                <a:solidFill>
                  <a:prstClr val="white">
                    <a:lumMod val="65000"/>
                  </a:prstClr>
                </a:solidFill>
              </a:rPr>
              <a:t>Xxx</a:t>
            </a:r>
            <a:endParaRPr lang="cs-CZ" dirty="0">
              <a:solidFill>
                <a:prstClr val="white">
                  <a:lumMod val="65000"/>
                </a:prstClr>
              </a:solidFill>
            </a:endParaRPr>
          </a:p>
          <a:p>
            <a:r>
              <a:rPr lang="cs-CZ" dirty="0" err="1">
                <a:solidFill>
                  <a:prstClr val="white">
                    <a:lumMod val="65000"/>
                  </a:prstClr>
                </a:solidFill>
              </a:rPr>
              <a:t>xxx</a:t>
            </a:r>
            <a:endParaRPr lang="en-US" dirty="0">
              <a:solidFill>
                <a:prstClr val="white">
                  <a:lumMod val="65000"/>
                </a:prstClr>
              </a:solidFill>
            </a:endParaRPr>
          </a:p>
        </p:txBody>
      </p:sp>
      <p:sp>
        <p:nvSpPr>
          <p:cNvPr id="7" name="TextBox 6"/>
          <p:cNvSpPr txBox="1"/>
          <p:nvPr userDrawn="1"/>
        </p:nvSpPr>
        <p:spPr>
          <a:xfrm>
            <a:off x="11013229" y="6251147"/>
            <a:ext cx="535643" cy="307777"/>
          </a:xfrm>
          <a:prstGeom prst="rect">
            <a:avLst/>
          </a:prstGeom>
          <a:noFill/>
        </p:spPr>
        <p:txBody>
          <a:bodyPr wrap="square" lIns="0" tIns="0" rIns="0" bIns="0" rtlCol="0" anchor="b">
            <a:spAutoFit/>
          </a:bodyPr>
          <a:lstStyle/>
          <a:p>
            <a:pPr algn="r">
              <a:defRPr/>
            </a:pPr>
            <a:fld id="{DFCF27A5-1A5B-48D3-A060-2758FFBB1ADD}" type="slidenum">
              <a:rPr lang="en-US" sz="2000" smtClean="0">
                <a:solidFill>
                  <a:prstClr val="white">
                    <a:lumMod val="65000"/>
                  </a:prstClr>
                </a:solidFill>
                <a:latin typeface="BebasNeueRegular" panose="020B0606020202050201" pitchFamily="34" charset="0"/>
              </a:rPr>
              <a:pPr algn="r">
                <a:defRPr/>
              </a:pPr>
              <a:t>‹#›</a:t>
            </a:fld>
            <a:endParaRPr lang="en-US" sz="2000" dirty="0">
              <a:solidFill>
                <a:prstClr val="white">
                  <a:lumMod val="65000"/>
                </a:prstClr>
              </a:solidFill>
              <a:latin typeface="BebasNeueRegular" panose="020B0606020202050201" pitchFamily="34" charset="0"/>
            </a:endParaRPr>
          </a:p>
        </p:txBody>
      </p:sp>
      <p:grpSp>
        <p:nvGrpSpPr>
          <p:cNvPr id="25" name="Group 24">
            <a:extLst>
              <a:ext uri="{FF2B5EF4-FFF2-40B4-BE49-F238E27FC236}">
                <a16:creationId xmlns:a16="http://schemas.microsoft.com/office/drawing/2014/main" id="{AC660CA0-B37E-46DD-B65C-CCA8831601FD}"/>
              </a:ext>
            </a:extLst>
          </p:cNvPr>
          <p:cNvGrpSpPr/>
          <p:nvPr userDrawn="1"/>
        </p:nvGrpSpPr>
        <p:grpSpPr>
          <a:xfrm>
            <a:off x="715793" y="6021288"/>
            <a:ext cx="507642" cy="598018"/>
            <a:chOff x="1186609" y="920554"/>
            <a:chExt cx="966811" cy="1138933"/>
          </a:xfrm>
          <a:solidFill>
            <a:schemeClr val="accent2"/>
          </a:solidFill>
        </p:grpSpPr>
        <p:sp>
          <p:nvSpPr>
            <p:cNvPr id="26" name="Freeform 4">
              <a:extLst>
                <a:ext uri="{FF2B5EF4-FFF2-40B4-BE49-F238E27FC236}">
                  <a16:creationId xmlns:a16="http://schemas.microsoft.com/office/drawing/2014/main" id="{B2761208-0A63-4E54-A8FB-1ECC008C256A}"/>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5">
              <a:extLst>
                <a:ext uri="{FF2B5EF4-FFF2-40B4-BE49-F238E27FC236}">
                  <a16:creationId xmlns:a16="http://schemas.microsoft.com/office/drawing/2014/main" id="{E22AE026-BEBB-4416-879E-1FE5FB836B44}"/>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8" name="Rectangle 27">
            <a:extLst>
              <a:ext uri="{FF2B5EF4-FFF2-40B4-BE49-F238E27FC236}">
                <a16:creationId xmlns:a16="http://schemas.microsoft.com/office/drawing/2014/main" id="{01D908CB-B286-4FA5-8EFE-022EE54ED3FE}"/>
              </a:ext>
            </a:extLst>
          </p:cNvPr>
          <p:cNvSpPr/>
          <p:nvPr userDrawn="1"/>
        </p:nvSpPr>
        <p:spPr>
          <a:xfrm>
            <a:off x="1199456" y="6158726"/>
            <a:ext cx="1153298" cy="34412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r>
              <a:rPr lang="cs-CZ" sz="2000" b="1" dirty="0" err="1">
                <a:solidFill>
                  <a:schemeClr val="tx2"/>
                </a:solidFill>
              </a:rPr>
              <a:t>GetReal</a:t>
            </a:r>
            <a:endParaRPr lang="en-GB" sz="2000" b="1" dirty="0">
              <a:solidFill>
                <a:schemeClr val="tx2"/>
              </a:solidFill>
            </a:endParaRPr>
          </a:p>
        </p:txBody>
      </p:sp>
    </p:spTree>
    <p:extLst>
      <p:ext uri="{BB962C8B-B14F-4D97-AF65-F5344CB8AC3E}">
        <p14:creationId xmlns:p14="http://schemas.microsoft.com/office/powerpoint/2010/main" val="239999115"/>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90" r:id="rId9"/>
    <p:sldLayoutId id="2147483791" r:id="rId10"/>
    <p:sldLayoutId id="2147483792" r:id="rId11"/>
    <p:sldLayoutId id="2147483793" r:id="rId12"/>
    <p:sldLayoutId id="2147483794" r:id="rId13"/>
    <p:sldLayoutId id="2147483795" r:id="rId14"/>
    <p:sldLayoutId id="2147483796" r:id="rId15"/>
    <p:sldLayoutId id="2147483847" r:id="rId16"/>
    <p:sldLayoutId id="2147483844" r:id="rId17"/>
    <p:sldLayoutId id="2147483797" r:id="rId18"/>
    <p:sldLayoutId id="2147483798" r:id="rId19"/>
    <p:sldLayoutId id="2147483799" r:id="rId20"/>
    <p:sldLayoutId id="2147483800" r:id="rId21"/>
    <p:sldLayoutId id="2147483801" r:id="rId22"/>
    <p:sldLayoutId id="2147483802" r:id="rId23"/>
    <p:sldLayoutId id="2147483803" r:id="rId24"/>
    <p:sldLayoutId id="2147483845" r:id="rId25"/>
    <p:sldLayoutId id="2147483804" r:id="rId26"/>
    <p:sldLayoutId id="2147483805" r:id="rId27"/>
    <p:sldLayoutId id="2147483806" r:id="rId28"/>
    <p:sldLayoutId id="2147483807" r:id="rId29"/>
    <p:sldLayoutId id="2147483808" r:id="rId30"/>
    <p:sldLayoutId id="2147483809" r:id="rId31"/>
    <p:sldLayoutId id="2147483974" r:id="rId32"/>
    <p:sldLayoutId id="2147483811" r:id="rId33"/>
    <p:sldLayoutId id="2147483812" r:id="rId34"/>
    <p:sldLayoutId id="2147483813" r:id="rId35"/>
    <p:sldLayoutId id="2147483814" r:id="rId36"/>
    <p:sldLayoutId id="2147483815" r:id="rId37"/>
    <p:sldLayoutId id="2147483816" r:id="rId38"/>
    <p:sldLayoutId id="2147483817" r:id="rId39"/>
    <p:sldLayoutId id="2147483818" r:id="rId40"/>
    <p:sldLayoutId id="2147483819" r:id="rId41"/>
    <p:sldLayoutId id="2147483820" r:id="rId42"/>
    <p:sldLayoutId id="2147483821" r:id="rId43"/>
    <p:sldLayoutId id="2147483822" r:id="rId44"/>
    <p:sldLayoutId id="2147483823" r:id="rId45"/>
    <p:sldLayoutId id="2147483825" r:id="rId46"/>
    <p:sldLayoutId id="2147483826" r:id="rId47"/>
    <p:sldLayoutId id="2147483827" r:id="rId48"/>
    <p:sldLayoutId id="2147483828" r:id="rId49"/>
    <p:sldLayoutId id="2147483829" r:id="rId50"/>
    <p:sldLayoutId id="2147483830" r:id="rId51"/>
    <p:sldLayoutId id="2147483831" r:id="rId52"/>
    <p:sldLayoutId id="2147483975" r:id="rId53"/>
    <p:sldLayoutId id="2147483976" r:id="rId54"/>
    <p:sldLayoutId id="2147483832" r:id="rId55"/>
    <p:sldLayoutId id="2147483833" r:id="rId56"/>
    <p:sldLayoutId id="2147483834" r:id="rId57"/>
    <p:sldLayoutId id="2147483906"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6000" kern="1200">
          <a:solidFill>
            <a:schemeClr val="tx2"/>
          </a:solidFill>
          <a:latin typeface="BebasNeueRegular" panose="020B0606020202050201" pitchFamily="34" charset="0"/>
          <a:ea typeface="+mj-ea"/>
          <a:cs typeface="+mj-cs"/>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Trebuchet MS" panose="020B0603020202020204" pitchFamily="34" charset="0"/>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Trebuchet MS" panose="020B0603020202020204" pitchFamily="34" charset="0"/>
          <a:ea typeface="+mn-ea"/>
          <a:cs typeface="+mn-cs"/>
        </a:defRPr>
      </a:lvl3pPr>
      <a:lvl4pPr marL="0" indent="0" algn="l" defTabSz="914400" rtl="0" eaLnBrk="1" latinLnBrk="0" hangingPunct="1">
        <a:lnSpc>
          <a:spcPct val="110000"/>
        </a:lnSpc>
        <a:spcBef>
          <a:spcPts val="0"/>
        </a:spcBef>
        <a:spcAft>
          <a:spcPts val="0"/>
        </a:spcAft>
        <a:buClr>
          <a:schemeClr val="tx2"/>
        </a:buClr>
        <a:buFont typeface="Arial" panose="020B0604020202020204" pitchFamily="34" charset="0"/>
        <a:buChar char="​"/>
        <a:defRPr sz="2800" kern="1200">
          <a:solidFill>
            <a:schemeClr val="tx2"/>
          </a:solidFill>
          <a:latin typeface="Trebuchet MS" panose="020B0603020202020204" pitchFamily="34" charset="0"/>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Trebuchet MS" panose="020B0603020202020204" pitchFamily="34" charset="0"/>
          <a:ea typeface="+mn-ea"/>
          <a:cs typeface="+mn-cs"/>
        </a:defRPr>
      </a:lvl5pPr>
      <a:lvl6pPr marL="457200" indent="-339725" algn="l" defTabSz="914400" rtl="0" eaLnBrk="1" latinLnBrk="0" hangingPunct="1">
        <a:lnSpc>
          <a:spcPct val="9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Char char="​"/>
        <a:defRPr sz="2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13.xml"/><Relationship Id="rId7" Type="http://schemas.openxmlformats.org/officeDocument/2006/relationships/image" Target="../media/image3.emf"/><Relationship Id="rId2" Type="http://schemas.openxmlformats.org/officeDocument/2006/relationships/tags" Target="../tags/tag112.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notesSlide" Target="../notesSlides/notesSlide1.xml"/><Relationship Id="rId10" Type="http://schemas.openxmlformats.org/officeDocument/2006/relationships/image" Target="../media/image13.emf"/><Relationship Id="rId4" Type="http://schemas.openxmlformats.org/officeDocument/2006/relationships/slideLayout" Target="../slideLayouts/slideLayout1.xml"/><Relationship Id="rId9" Type="http://schemas.openxmlformats.org/officeDocument/2006/relationships/image" Target="../media/image12.emf"/></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133.xml"/><Relationship Id="rId7" Type="http://schemas.openxmlformats.org/officeDocument/2006/relationships/image" Target="../media/image16.emf"/><Relationship Id="rId2" Type="http://schemas.openxmlformats.org/officeDocument/2006/relationships/tags" Target="../tags/tag132.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notesSlide" Target="../notesSlides/notesSlide4.xml"/><Relationship Id="rId10" Type="http://schemas.openxmlformats.org/officeDocument/2006/relationships/image" Target="../media/image30.png"/><Relationship Id="rId4" Type="http://schemas.openxmlformats.org/officeDocument/2006/relationships/slideLayout" Target="../slideLayouts/slideLayout2.xml"/><Relationship Id="rId9"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vmlDrawing" Target="../drawings/vmlDrawing70.vml"/><Relationship Id="rId6" Type="http://schemas.openxmlformats.org/officeDocument/2006/relationships/image" Target="../media/image16.emf"/><Relationship Id="rId5" Type="http://schemas.openxmlformats.org/officeDocument/2006/relationships/oleObject" Target="../embeddings/oleObject70.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137.xml"/><Relationship Id="rId7" Type="http://schemas.openxmlformats.org/officeDocument/2006/relationships/slideLayout" Target="../slideLayouts/slideLayout2.xml"/><Relationship Id="rId2" Type="http://schemas.openxmlformats.org/officeDocument/2006/relationships/tags" Target="../tags/tag136.xml"/><Relationship Id="rId1" Type="http://schemas.openxmlformats.org/officeDocument/2006/relationships/vmlDrawing" Target="../drawings/vmlDrawing71.vml"/><Relationship Id="rId6" Type="http://schemas.openxmlformats.org/officeDocument/2006/relationships/tags" Target="../tags/tag140.xml"/><Relationship Id="rId5" Type="http://schemas.openxmlformats.org/officeDocument/2006/relationships/tags" Target="../tags/tag139.xml"/><Relationship Id="rId4" Type="http://schemas.openxmlformats.org/officeDocument/2006/relationships/tags" Target="../tags/tag138.xml"/><Relationship Id="rId9" Type="http://schemas.openxmlformats.org/officeDocument/2006/relationships/image" Target="../media/image16.emf"/></Relationships>
</file>

<file path=ppt/slides/_rels/slide13.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72.vml"/><Relationship Id="rId6" Type="http://schemas.openxmlformats.org/officeDocument/2006/relationships/image" Target="../media/image16.emf"/><Relationship Id="rId5" Type="http://schemas.openxmlformats.org/officeDocument/2006/relationships/oleObject" Target="../embeddings/oleObject72.bin"/><Relationship Id="rId4"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vmlDrawing" Target="../drawings/vmlDrawing73.vml"/><Relationship Id="rId6" Type="http://schemas.openxmlformats.org/officeDocument/2006/relationships/image" Target="../media/image16.emf"/><Relationship Id="rId5" Type="http://schemas.openxmlformats.org/officeDocument/2006/relationships/oleObject" Target="../embeddings/oleObject73.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vmlDrawing" Target="../drawings/vmlDrawing74.vml"/><Relationship Id="rId6" Type="http://schemas.openxmlformats.org/officeDocument/2006/relationships/image" Target="../media/image16.emf"/><Relationship Id="rId5" Type="http://schemas.openxmlformats.org/officeDocument/2006/relationships/oleObject" Target="../embeddings/oleObject74.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115.xml"/><Relationship Id="rId7" Type="http://schemas.openxmlformats.org/officeDocument/2006/relationships/notesSlide" Target="../notesSlides/notesSlide2.xml"/><Relationship Id="rId2" Type="http://schemas.openxmlformats.org/officeDocument/2006/relationships/tags" Target="../tags/tag114.xml"/><Relationship Id="rId1" Type="http://schemas.openxmlformats.org/officeDocument/2006/relationships/vmlDrawing" Target="../drawings/vmlDrawing61.vml"/><Relationship Id="rId6" Type="http://schemas.openxmlformats.org/officeDocument/2006/relationships/slideLayout" Target="../slideLayouts/slideLayout58.xml"/><Relationship Id="rId11" Type="http://schemas.openxmlformats.org/officeDocument/2006/relationships/image" Target="../media/image15.jpeg"/><Relationship Id="rId5" Type="http://schemas.openxmlformats.org/officeDocument/2006/relationships/tags" Target="../tags/tag117.xml"/><Relationship Id="rId10" Type="http://schemas.openxmlformats.org/officeDocument/2006/relationships/image" Target="../media/image14.jpeg"/><Relationship Id="rId4" Type="http://schemas.openxmlformats.org/officeDocument/2006/relationships/tags" Target="../tags/tag116.xml"/><Relationship Id="rId9" Type="http://schemas.openxmlformats.org/officeDocument/2006/relationships/image" Target="../media/image10.emf"/></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19.xml"/><Relationship Id="rId7" Type="http://schemas.openxmlformats.org/officeDocument/2006/relationships/image" Target="../media/image17.jpg"/><Relationship Id="rId2" Type="http://schemas.openxmlformats.org/officeDocument/2006/relationships/tags" Target="../tags/tag118.xml"/><Relationship Id="rId1" Type="http://schemas.openxmlformats.org/officeDocument/2006/relationships/vmlDrawing" Target="../drawings/vmlDrawing62.vml"/><Relationship Id="rId6" Type="http://schemas.openxmlformats.org/officeDocument/2006/relationships/image" Target="../media/image16.emf"/><Relationship Id="rId5" Type="http://schemas.openxmlformats.org/officeDocument/2006/relationships/oleObject" Target="../embeddings/oleObject62.bin"/><Relationship Id="rId4" Type="http://schemas.openxmlformats.org/officeDocument/2006/relationships/slideLayout" Target="../slideLayouts/slideLayout15.xml"/><Relationship Id="rId9"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tags" Target="../tags/tag121.xml"/><Relationship Id="rId7" Type="http://schemas.openxmlformats.org/officeDocument/2006/relationships/image" Target="../media/image3.emf"/><Relationship Id="rId2" Type="http://schemas.openxmlformats.org/officeDocument/2006/relationships/tags" Target="../tags/tag120.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3.xml"/><Relationship Id="rId4"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vmlDrawing" Target="../drawings/vmlDrawing64.vml"/><Relationship Id="rId6" Type="http://schemas.openxmlformats.org/officeDocument/2006/relationships/image" Target="../media/image16.emf"/><Relationship Id="rId5" Type="http://schemas.openxmlformats.org/officeDocument/2006/relationships/oleObject" Target="../embeddings/oleObject64.bin"/><Relationship Id="rId4"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19.jpeg"/><Relationship Id="rId2" Type="http://schemas.openxmlformats.org/officeDocument/2006/relationships/tags" Target="../tags/tag124.xml"/><Relationship Id="rId1" Type="http://schemas.openxmlformats.org/officeDocument/2006/relationships/vmlDrawing" Target="../drawings/vmlDrawing65.vml"/><Relationship Id="rId6" Type="http://schemas.openxmlformats.org/officeDocument/2006/relationships/image" Target="../media/image16.emf"/><Relationship Id="rId5" Type="http://schemas.openxmlformats.org/officeDocument/2006/relationships/oleObject" Target="../embeddings/oleObject65.bin"/><Relationship Id="rId4"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66.vml"/><Relationship Id="rId6" Type="http://schemas.openxmlformats.org/officeDocument/2006/relationships/image" Target="../media/image3.emf"/><Relationship Id="rId5" Type="http://schemas.openxmlformats.org/officeDocument/2006/relationships/oleObject" Target="../embeddings/oleObject66.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67.vml"/><Relationship Id="rId6" Type="http://schemas.openxmlformats.org/officeDocument/2006/relationships/image" Target="../media/image3.emf"/><Relationship Id="rId5" Type="http://schemas.openxmlformats.org/officeDocument/2006/relationships/oleObject" Target="../embeddings/oleObject67.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tags" Target="../tags/tag131.xml"/><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tags" Target="../tags/tag130.xml"/><Relationship Id="rId1" Type="http://schemas.openxmlformats.org/officeDocument/2006/relationships/vmlDrawing" Target="../drawings/vmlDrawing68.vml"/><Relationship Id="rId6" Type="http://schemas.openxmlformats.org/officeDocument/2006/relationships/image" Target="../media/image16.emf"/><Relationship Id="rId11" Type="http://schemas.openxmlformats.org/officeDocument/2006/relationships/image" Target="../media/image24.png"/><Relationship Id="rId5" Type="http://schemas.openxmlformats.org/officeDocument/2006/relationships/oleObject" Target="../embeddings/oleObject68.bin"/><Relationship Id="rId10" Type="http://schemas.openxmlformats.org/officeDocument/2006/relationships/image" Target="../media/image23.png"/><Relationship Id="rId4" Type="http://schemas.openxmlformats.org/officeDocument/2006/relationships/slideLayout" Target="../slideLayouts/slideLayout2.xml"/><Relationship Id="rId9" Type="http://schemas.openxmlformats.org/officeDocument/2006/relationships/image" Target="../media/image22.png"/><Relationship Id="rId1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54389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AAA2727-0E0A-46EA-858E-170720716862}"/>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3000"/>
              </a:lnSpc>
              <a:spcBef>
                <a:spcPct val="0"/>
              </a:spcBef>
              <a:spcAft>
                <a:spcPct val="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3" name="Text Placeholder 12"/>
          <p:cNvSpPr>
            <a:spLocks noGrp="1"/>
          </p:cNvSpPr>
          <p:nvPr>
            <p:ph type="body" sz="quarter" idx="12"/>
          </p:nvPr>
        </p:nvSpPr>
        <p:spPr>
          <a:xfrm>
            <a:off x="948327" y="6246284"/>
            <a:ext cx="6900121" cy="250261"/>
          </a:xfrm>
        </p:spPr>
        <p:txBody>
          <a:bodyPr/>
          <a:lstStyle/>
          <a:p>
            <a:r>
              <a:rPr lang="cs-CZ" sz="1600" b="0" dirty="0" err="1"/>
              <a:t>October</a:t>
            </a:r>
            <a:r>
              <a:rPr lang="cs-CZ" sz="1600" b="0" dirty="0"/>
              <a:t> 17</a:t>
            </a:r>
            <a:r>
              <a:rPr lang="cs-CZ" sz="1600" b="0" baseline="30000" dirty="0"/>
              <a:t>th</a:t>
            </a:r>
            <a:r>
              <a:rPr lang="cs-CZ" sz="1600" b="0" dirty="0"/>
              <a:t>, 2021</a:t>
            </a:r>
            <a:endParaRPr lang="en-US" sz="1600" b="0" dirty="0"/>
          </a:p>
        </p:txBody>
      </p:sp>
      <p:sp>
        <p:nvSpPr>
          <p:cNvPr id="7" name="Subtitle 6"/>
          <p:cNvSpPr>
            <a:spLocks noGrp="1"/>
          </p:cNvSpPr>
          <p:nvPr>
            <p:ph type="subTitle" idx="1"/>
          </p:nvPr>
        </p:nvSpPr>
        <p:spPr>
          <a:xfrm>
            <a:off x="955655" y="5420678"/>
            <a:ext cx="6580505" cy="586251"/>
          </a:xfrm>
        </p:spPr>
        <p:txBody>
          <a:bodyPr/>
          <a:lstStyle/>
          <a:p>
            <a:r>
              <a:rPr lang="en-GB" dirty="0" err="1"/>
              <a:t>Hackrague</a:t>
            </a:r>
            <a:r>
              <a:rPr lang="en-GB" dirty="0"/>
              <a:t> 20</a:t>
            </a:r>
            <a:r>
              <a:rPr lang="cs-CZ" dirty="0"/>
              <a:t>21</a:t>
            </a:r>
            <a:r>
              <a:rPr lang="en-GB" dirty="0"/>
              <a:t>, </a:t>
            </a:r>
            <a:br>
              <a:rPr lang="cs-CZ" dirty="0"/>
            </a:br>
            <a:r>
              <a:rPr lang="cs-CZ" i="1" dirty="0" err="1"/>
              <a:t>ImpactHub</a:t>
            </a:r>
            <a:endParaRPr lang="en-US" i="1" dirty="0"/>
          </a:p>
        </p:txBody>
      </p:sp>
      <p:sp>
        <p:nvSpPr>
          <p:cNvPr id="11" name="Title 10"/>
          <p:cNvSpPr>
            <a:spLocks noGrp="1"/>
          </p:cNvSpPr>
          <p:nvPr>
            <p:ph type="ctrTitle"/>
          </p:nvPr>
        </p:nvSpPr>
        <p:spPr/>
        <p:txBody>
          <a:bodyPr vert="horz">
            <a:noAutofit/>
          </a:bodyPr>
          <a:lstStyle/>
          <a:p>
            <a:r>
              <a:rPr lang="cs-CZ" sz="6600" dirty="0" err="1"/>
              <a:t>Get</a:t>
            </a:r>
            <a:r>
              <a:rPr lang="cs-CZ" sz="6600" dirty="0"/>
              <a:t> Real</a:t>
            </a:r>
            <a:r>
              <a:rPr lang="en-GB" sz="6600" dirty="0"/>
              <a:t>:</a:t>
            </a:r>
            <a:br>
              <a:rPr lang="en-GB" sz="6000" dirty="0"/>
            </a:br>
            <a:r>
              <a:rPr lang="en-GB" sz="5400" dirty="0"/>
              <a:t>a </a:t>
            </a:r>
            <a:r>
              <a:rPr lang="cs-CZ" sz="5400" dirty="0" err="1"/>
              <a:t>way</a:t>
            </a:r>
            <a:r>
              <a:rPr lang="cs-CZ" sz="5400" dirty="0"/>
              <a:t> to </a:t>
            </a:r>
            <a:r>
              <a:rPr lang="cs-CZ" sz="5400" dirty="0" err="1"/>
              <a:t>improve</a:t>
            </a:r>
            <a:r>
              <a:rPr lang="cs-CZ" sz="5400" dirty="0"/>
              <a:t> </a:t>
            </a:r>
            <a:r>
              <a:rPr lang="cs-CZ" sz="5400" dirty="0" err="1"/>
              <a:t>real</a:t>
            </a:r>
            <a:r>
              <a:rPr lang="cs-CZ" sz="5400" dirty="0"/>
              <a:t> </a:t>
            </a:r>
            <a:r>
              <a:rPr lang="cs-CZ" sz="5400" dirty="0" err="1"/>
              <a:t>estate</a:t>
            </a:r>
            <a:endParaRPr lang="en-US" sz="6000" dirty="0"/>
          </a:p>
        </p:txBody>
      </p:sp>
      <p:pic>
        <p:nvPicPr>
          <p:cNvPr id="34" name="Picture 33">
            <a:extLst>
              <a:ext uri="{FF2B5EF4-FFF2-40B4-BE49-F238E27FC236}">
                <a16:creationId xmlns:a16="http://schemas.microsoft.com/office/drawing/2014/main" id="{89D153C3-85A8-4AE4-A731-3A714B8AAF0E}"/>
              </a:ext>
            </a:extLst>
          </p:cNvPr>
          <p:cNvPicPr>
            <a:picLocks noChangeAspect="1"/>
          </p:cNvPicPr>
          <p:nvPr/>
        </p:nvPicPr>
        <p:blipFill>
          <a:blip r:embed="rId8">
            <a:biLevel thresh="75000"/>
            <a:extLst>
              <a:ext uri="{28A0092B-C50C-407E-A947-70E740481C1C}">
                <a14:useLocalDpi xmlns:a14="http://schemas.microsoft.com/office/drawing/2010/main"/>
              </a:ext>
            </a:extLst>
          </a:blip>
          <a:stretch>
            <a:fillRect/>
          </a:stretch>
        </p:blipFill>
        <p:spPr>
          <a:xfrm>
            <a:off x="9067800" y="5620051"/>
            <a:ext cx="2781300" cy="946860"/>
          </a:xfrm>
          <a:prstGeom prst="rect">
            <a:avLst/>
          </a:prstGeom>
        </p:spPr>
      </p:pic>
      <p:sp>
        <p:nvSpPr>
          <p:cNvPr id="37" name="Subtitle 11">
            <a:extLst>
              <a:ext uri="{FF2B5EF4-FFF2-40B4-BE49-F238E27FC236}">
                <a16:creationId xmlns:a16="http://schemas.microsoft.com/office/drawing/2014/main" id="{169484CE-423B-4F2B-8C47-BB86EA657B92}"/>
              </a:ext>
            </a:extLst>
          </p:cNvPr>
          <p:cNvSpPr txBox="1">
            <a:spLocks/>
          </p:cNvSpPr>
          <p:nvPr/>
        </p:nvSpPr>
        <p:spPr bwMode="white">
          <a:xfrm>
            <a:off x="7752184" y="5345197"/>
            <a:ext cx="914400" cy="172035"/>
          </a:xfrm>
          <a:prstGeom prst="rect">
            <a:avLst/>
          </a:prstGeom>
        </p:spPr>
        <p:txBody>
          <a:bodyPr vert="horz" wrap="square" lIns="0" tIns="0" rIns="0" bIns="0" rtlCol="0" anchor="ctr">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None/>
              <a:defRPr sz="1600" kern="1200">
                <a:solidFill>
                  <a:schemeClr val="bg1"/>
                </a:solidFill>
                <a:latin typeface="Trebuchet MS" panose="020B0603020202020204" pitchFamily="34" charset="0"/>
                <a:ea typeface="+mn-ea"/>
                <a:cs typeface="+mn-cs"/>
                <a:sym typeface="Trebuchet MS" panose="020B0603020202020204" pitchFamily="34" charset="0"/>
              </a:defRPr>
            </a:lvl1pPr>
            <a:lvl2pPr marL="457200" indent="0" algn="ctr" defTabSz="914400" rtl="0" eaLnBrk="1" latinLnBrk="0" hangingPunct="1">
              <a:lnSpc>
                <a:spcPct val="90000"/>
              </a:lnSpc>
              <a:spcBef>
                <a:spcPts val="300"/>
              </a:spcBef>
              <a:spcAft>
                <a:spcPts val="300"/>
              </a:spcAft>
              <a:buClr>
                <a:srgbClr val="670F31"/>
              </a:buClr>
              <a:buFont typeface="Arial" panose="020B0604020202020204" pitchFamily="34" charset="0"/>
              <a:buNone/>
              <a:defRPr sz="2000" kern="1200">
                <a:solidFill>
                  <a:schemeClr val="tx1"/>
                </a:solidFill>
                <a:latin typeface="Trebuchet MS" panose="020B0603020202020204" pitchFamily="34" charset="0"/>
                <a:ea typeface="+mn-ea"/>
                <a:cs typeface="+mn-cs"/>
                <a:sym typeface="Trebuchet MS" panose="020B0603020202020204" pitchFamily="34" charset="0"/>
              </a:defRPr>
            </a:lvl2pPr>
            <a:lvl3pPr marL="914400" indent="0" algn="ctr" defTabSz="914400" rtl="0" eaLnBrk="1" latinLnBrk="0" hangingPunct="1">
              <a:lnSpc>
                <a:spcPct val="90000"/>
              </a:lnSpc>
              <a:spcBef>
                <a:spcPts val="300"/>
              </a:spcBef>
              <a:spcAft>
                <a:spcPts val="300"/>
              </a:spcAft>
              <a:buClr>
                <a:srgbClr val="670F31"/>
              </a:buClr>
              <a:buFont typeface="Arial" panose="020B0604020202020204" pitchFamily="34" charset="0"/>
              <a:buNone/>
              <a:defRPr sz="1800" kern="1200">
                <a:solidFill>
                  <a:schemeClr val="tx1"/>
                </a:solidFill>
                <a:latin typeface="Trebuchet MS" panose="020B0603020202020204" pitchFamily="34" charset="0"/>
                <a:ea typeface="+mn-ea"/>
                <a:cs typeface="+mn-cs"/>
                <a:sym typeface="Trebuchet MS" panose="020B0603020202020204" pitchFamily="34" charset="0"/>
              </a:defRPr>
            </a:lvl3pPr>
            <a:lvl4pPr marL="1371600" indent="0" algn="ctr" defTabSz="914400" rtl="0" eaLnBrk="1" latinLnBrk="0" hangingPunct="1">
              <a:lnSpc>
                <a:spcPct val="110000"/>
              </a:lnSpc>
              <a:spcBef>
                <a:spcPts val="0"/>
              </a:spcBef>
              <a:spcAft>
                <a:spcPts val="0"/>
              </a:spcAft>
              <a:buClr>
                <a:schemeClr val="tx2"/>
              </a:buClr>
              <a:buFont typeface="Arial" panose="020B0604020202020204" pitchFamily="34" charset="0"/>
              <a:buNone/>
              <a:defRPr sz="1600" kern="1200">
                <a:solidFill>
                  <a:srgbClr val="670F31"/>
                </a:solidFill>
                <a:latin typeface="Trebuchet MS" panose="020B0603020202020204" pitchFamily="34" charset="0"/>
                <a:ea typeface="+mn-ea"/>
                <a:cs typeface="+mn-cs"/>
                <a:sym typeface="Trebuchet MS" panose="020B0603020202020204" pitchFamily="34" charset="0"/>
              </a:defRPr>
            </a:lvl4pPr>
            <a:lvl5pPr marL="1828800" indent="0" algn="ctr" defTabSz="914400" rtl="0" eaLnBrk="1" latinLnBrk="0" hangingPunct="1">
              <a:lnSpc>
                <a:spcPct val="100000"/>
              </a:lnSpc>
              <a:spcBef>
                <a:spcPts val="300"/>
              </a:spcBef>
              <a:spcAft>
                <a:spcPts val="300"/>
              </a:spcAft>
              <a:buClrTx/>
              <a:buFont typeface="Arial" panose="020B0604020202020204" pitchFamily="34" charset="0"/>
              <a:buNone/>
              <a:defRPr sz="1600" b="1" kern="1200">
                <a:solidFill>
                  <a:schemeClr val="tx1"/>
                </a:solidFill>
                <a:latin typeface="Trebuchet MS" panose="020B0603020202020204" pitchFamily="34" charset="0"/>
                <a:ea typeface="+mn-ea"/>
                <a:cs typeface="+mn-cs"/>
                <a:sym typeface="Trebuchet MS" panose="020B0603020202020204" pitchFamily="34" charset="0"/>
              </a:defRPr>
            </a:lvl5pPr>
            <a:lvl6pPr marL="2286000" indent="0" algn="ctr" defTabSz="914400" rtl="0" eaLnBrk="1" latinLnBrk="0" hangingPunct="1">
              <a:lnSpc>
                <a:spcPct val="9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0"/>
              </a:spcBef>
              <a:spcAft>
                <a:spcPts val="600"/>
              </a:spcAft>
              <a:buFont typeface="Arial" panose="020B0604020202020204" pitchFamily="34" charset="0"/>
              <a:buNone/>
              <a:defRPr sz="1600" kern="1200" baseline="0">
                <a:solidFill>
                  <a:schemeClr val="tx1"/>
                </a:solidFill>
                <a:latin typeface="+mn-lt"/>
                <a:ea typeface="+mn-ea"/>
                <a:cs typeface="+mn-cs"/>
              </a:defRPr>
            </a:lvl7pPr>
            <a:lvl8pPr marL="3200400" indent="0" algn="ctr"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8pPr>
            <a:lvl9pPr marL="3657600" indent="0" algn="ctr"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9pPr>
          </a:lstStyle>
          <a:p>
            <a:r>
              <a:rPr lang="cs-CZ" sz="1100" i="1" dirty="0" err="1">
                <a:solidFill>
                  <a:srgbClr val="FFFFFF"/>
                </a:solidFill>
              </a:rPr>
              <a:t>Powered</a:t>
            </a:r>
            <a:r>
              <a:rPr lang="cs-CZ" sz="1100" i="1" dirty="0">
                <a:solidFill>
                  <a:srgbClr val="FFFFFF"/>
                </a:solidFill>
              </a:rPr>
              <a:t> by</a:t>
            </a:r>
            <a:endParaRPr lang="en-US" sz="1100" i="1" dirty="0">
              <a:solidFill>
                <a:srgbClr val="FFFFFF"/>
              </a:solidFill>
            </a:endParaRPr>
          </a:p>
        </p:txBody>
      </p:sp>
      <p:pic>
        <p:nvPicPr>
          <p:cNvPr id="9" name="Picture 8">
            <a:extLst>
              <a:ext uri="{FF2B5EF4-FFF2-40B4-BE49-F238E27FC236}">
                <a16:creationId xmlns:a16="http://schemas.microsoft.com/office/drawing/2014/main" id="{CC6C275F-FD98-44ED-96DC-13670B3D4716}"/>
              </a:ext>
            </a:extLst>
          </p:cNvPr>
          <p:cNvPicPr>
            <a:picLocks noChangeAspect="1"/>
          </p:cNvPicPr>
          <p:nvPr/>
        </p:nvPicPr>
        <p:blipFill>
          <a:blip r:embed="rId9"/>
          <a:stretch>
            <a:fillRect/>
          </a:stretch>
        </p:blipFill>
        <p:spPr>
          <a:xfrm>
            <a:off x="7657439" y="5517232"/>
            <a:ext cx="961644" cy="492252"/>
          </a:xfrm>
          <a:prstGeom prst="rect">
            <a:avLst/>
          </a:prstGeom>
        </p:spPr>
      </p:pic>
      <p:pic>
        <p:nvPicPr>
          <p:cNvPr id="15" name="Picture 14">
            <a:extLst>
              <a:ext uri="{FF2B5EF4-FFF2-40B4-BE49-F238E27FC236}">
                <a16:creationId xmlns:a16="http://schemas.microsoft.com/office/drawing/2014/main" id="{FAE161FD-8E46-4B6D-820A-7BDA0C6D1BEF}"/>
              </a:ext>
            </a:extLst>
          </p:cNvPr>
          <p:cNvPicPr>
            <a:picLocks noChangeAspect="1"/>
          </p:cNvPicPr>
          <p:nvPr/>
        </p:nvPicPr>
        <p:blipFill>
          <a:blip r:embed="rId10"/>
          <a:stretch>
            <a:fillRect/>
          </a:stretch>
        </p:blipFill>
        <p:spPr>
          <a:xfrm>
            <a:off x="839416" y="1484784"/>
            <a:ext cx="6145578" cy="1944216"/>
          </a:xfrm>
          <a:prstGeom prst="rect">
            <a:avLst/>
          </a:prstGeom>
        </p:spPr>
      </p:pic>
    </p:spTree>
    <p:extLst>
      <p:ext uri="{BB962C8B-B14F-4D97-AF65-F5344CB8AC3E}">
        <p14:creationId xmlns:p14="http://schemas.microsoft.com/office/powerpoint/2010/main" val="2025096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867584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16" name="think-cell Slide" r:id="rId6" imgW="608" imgH="606" progId="TCLayout.ActiveDocument.1">
                  <p:embed/>
                </p:oleObj>
              </mc:Choice>
              <mc:Fallback>
                <p:oleObj name="think-cell Slide" r:id="rId6"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67DBA19-BDFD-4468-983A-5373DDBDAF88}"/>
              </a:ext>
            </a:extLst>
          </p:cNvPr>
          <p:cNvGrpSpPr/>
          <p:nvPr/>
        </p:nvGrpSpPr>
        <p:grpSpPr>
          <a:xfrm>
            <a:off x="623392" y="1434902"/>
            <a:ext cx="9937104" cy="4539137"/>
            <a:chOff x="623392" y="1434902"/>
            <a:chExt cx="10441160" cy="4769383"/>
          </a:xfrm>
        </p:grpSpPr>
        <p:pic>
          <p:nvPicPr>
            <p:cNvPr id="8" name="Picture 7">
              <a:extLst>
                <a:ext uri="{FF2B5EF4-FFF2-40B4-BE49-F238E27FC236}">
                  <a16:creationId xmlns:a16="http://schemas.microsoft.com/office/drawing/2014/main" id="{96201399-4073-4534-B55B-9EA15CD83705}"/>
                </a:ext>
              </a:extLst>
            </p:cNvPr>
            <p:cNvPicPr>
              <a:picLocks noChangeAspect="1"/>
            </p:cNvPicPr>
            <p:nvPr/>
          </p:nvPicPr>
          <p:blipFill>
            <a:blip r:embed="rId8"/>
            <a:stretch>
              <a:fillRect/>
            </a:stretch>
          </p:blipFill>
          <p:spPr>
            <a:xfrm>
              <a:off x="623392" y="1434902"/>
              <a:ext cx="10441160" cy="4769383"/>
            </a:xfrm>
            <a:prstGeom prst="rect">
              <a:avLst/>
            </a:prstGeom>
          </p:spPr>
        </p:pic>
        <p:pic>
          <p:nvPicPr>
            <p:cNvPr id="9" name="Picture 8">
              <a:extLst>
                <a:ext uri="{FF2B5EF4-FFF2-40B4-BE49-F238E27FC236}">
                  <a16:creationId xmlns:a16="http://schemas.microsoft.com/office/drawing/2014/main" id="{8B885E55-DE65-4FEA-9FCE-BC6CA87B0340}"/>
                </a:ext>
              </a:extLst>
            </p:cNvPr>
            <p:cNvPicPr>
              <a:picLocks noChangeAspect="1"/>
            </p:cNvPicPr>
            <p:nvPr/>
          </p:nvPicPr>
          <p:blipFill rotWithShape="1">
            <a:blip r:embed="rId9"/>
            <a:srcRect b="13359"/>
            <a:stretch/>
          </p:blipFill>
          <p:spPr>
            <a:xfrm>
              <a:off x="999119" y="2708920"/>
              <a:ext cx="9649072" cy="3414294"/>
            </a:xfrm>
            <a:prstGeom prst="rect">
              <a:avLst/>
            </a:prstGeom>
          </p:spPr>
        </p:pic>
      </p:grpSp>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p:txBody>
          <a:bodyPr vert="horz"/>
          <a:lstStyle/>
          <a:p>
            <a:r>
              <a:rPr lang="cs-CZ" dirty="0"/>
              <a:t>Demo</a:t>
            </a:r>
            <a:endParaRPr lang="en-GB" dirty="0"/>
          </a:p>
        </p:txBody>
      </p:sp>
      <p:pic>
        <p:nvPicPr>
          <p:cNvPr id="80900" name="Picture 4" descr="GitHub spustil mobilní aplikaci pro Android a iOS - Dotekomanie.cz">
            <a:extLst>
              <a:ext uri="{FF2B5EF4-FFF2-40B4-BE49-F238E27FC236}">
                <a16:creationId xmlns:a16="http://schemas.microsoft.com/office/drawing/2014/main" id="{28A4ECC4-6C83-4EA6-8CC1-12AFCE42C7C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552384" y="6117325"/>
            <a:ext cx="1293101" cy="72413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760F528E-0B50-4455-ABB2-C0FC800BC500}"/>
              </a:ext>
            </a:extLst>
          </p:cNvPr>
          <p:cNvSpPr/>
          <p:nvPr/>
        </p:nvSpPr>
        <p:spPr>
          <a:xfrm>
            <a:off x="8544272" y="6235480"/>
            <a:ext cx="1008112" cy="601986"/>
          </a:xfrm>
          <a:prstGeom prst="rect">
            <a:avLst/>
          </a:prstGeom>
          <a:noFill/>
          <a:ln w="12700">
            <a:noFill/>
          </a:ln>
          <a:extLst>
            <a:ext uri="{909E8E84-426E-40DD-AFC4-6F175D3DCCD1}">
              <a14:hiddenFill xmlns:a14="http://schemas.microsoft.com/office/drawing/2010/main">
                <a:solidFill>
                  <a:schemeClr val="bg1">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r>
              <a:rPr lang="cs-CZ" sz="1200" dirty="0" err="1">
                <a:solidFill>
                  <a:schemeClr val="tx1"/>
                </a:solidFill>
              </a:rPr>
              <a:t>See</a:t>
            </a:r>
            <a:r>
              <a:rPr lang="cs-CZ" sz="1200" dirty="0">
                <a:solidFill>
                  <a:schemeClr val="tx1"/>
                </a:solidFill>
              </a:rPr>
              <a:t> </a:t>
            </a:r>
            <a:r>
              <a:rPr lang="cs-CZ" sz="1200" dirty="0" err="1">
                <a:solidFill>
                  <a:schemeClr val="tx1"/>
                </a:solidFill>
              </a:rPr>
              <a:t>code</a:t>
            </a:r>
            <a:r>
              <a:rPr lang="cs-CZ" sz="1200" dirty="0">
                <a:solidFill>
                  <a:schemeClr val="tx1"/>
                </a:solidFill>
              </a:rPr>
              <a:t> on</a:t>
            </a:r>
            <a:endParaRPr lang="en-GB" sz="1200" dirty="0">
              <a:solidFill>
                <a:schemeClr val="tx1"/>
              </a:solidFill>
            </a:endParaRPr>
          </a:p>
        </p:txBody>
      </p:sp>
      <p:sp>
        <p:nvSpPr>
          <p:cNvPr id="10" name="Rectangle 9">
            <a:extLst>
              <a:ext uri="{FF2B5EF4-FFF2-40B4-BE49-F238E27FC236}">
                <a16:creationId xmlns:a16="http://schemas.microsoft.com/office/drawing/2014/main" id="{A73C57AF-CCEE-416E-AD98-6D5C434E8953}"/>
              </a:ext>
            </a:extLst>
          </p:cNvPr>
          <p:cNvSpPr/>
          <p:nvPr/>
        </p:nvSpPr>
        <p:spPr>
          <a:xfrm>
            <a:off x="767408" y="1640324"/>
            <a:ext cx="2520280" cy="648072"/>
          </a:xfrm>
          <a:prstGeom prst="rect">
            <a:avLst/>
          </a:prstGeom>
          <a:solidFill>
            <a:srgbClr val="F0F0F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GB" sz="1000" dirty="0">
              <a:solidFill>
                <a:schemeClr val="bg1"/>
              </a:solidFill>
            </a:endParaRPr>
          </a:p>
        </p:txBody>
      </p:sp>
      <p:grpSp>
        <p:nvGrpSpPr>
          <p:cNvPr id="20" name="Group 19">
            <a:extLst>
              <a:ext uri="{FF2B5EF4-FFF2-40B4-BE49-F238E27FC236}">
                <a16:creationId xmlns:a16="http://schemas.microsoft.com/office/drawing/2014/main" id="{F56F74D3-ABC5-4B5B-A991-CB9C92B3C4BB}"/>
              </a:ext>
            </a:extLst>
          </p:cNvPr>
          <p:cNvGrpSpPr/>
          <p:nvPr/>
        </p:nvGrpSpPr>
        <p:grpSpPr>
          <a:xfrm>
            <a:off x="982246" y="1700808"/>
            <a:ext cx="1754026" cy="489392"/>
            <a:chOff x="833438" y="1443038"/>
            <a:chExt cx="3154183" cy="880053"/>
          </a:xfrm>
        </p:grpSpPr>
        <p:grpSp>
          <p:nvGrpSpPr>
            <p:cNvPr id="19" name="Group 18">
              <a:extLst>
                <a:ext uri="{FF2B5EF4-FFF2-40B4-BE49-F238E27FC236}">
                  <a16:creationId xmlns:a16="http://schemas.microsoft.com/office/drawing/2014/main" id="{9DA88E16-D7D2-45DC-954E-F55A40828EBE}"/>
                </a:ext>
              </a:extLst>
            </p:cNvPr>
            <p:cNvGrpSpPr/>
            <p:nvPr/>
          </p:nvGrpSpPr>
          <p:grpSpPr>
            <a:xfrm>
              <a:off x="833438" y="1443038"/>
              <a:ext cx="1076325" cy="722313"/>
              <a:chOff x="833438" y="1443038"/>
              <a:chExt cx="1076325" cy="722313"/>
            </a:xfrm>
          </p:grpSpPr>
          <p:sp>
            <p:nvSpPr>
              <p:cNvPr id="14" name="Freeform 14">
                <a:extLst>
                  <a:ext uri="{FF2B5EF4-FFF2-40B4-BE49-F238E27FC236}">
                    <a16:creationId xmlns:a16="http://schemas.microsoft.com/office/drawing/2014/main" id="{79EE5958-ED53-4B74-9082-F96799ADD92F}"/>
                  </a:ext>
                </a:extLst>
              </p:cNvPr>
              <p:cNvSpPr>
                <a:spLocks noEditPoints="1"/>
              </p:cNvSpPr>
              <p:nvPr/>
            </p:nvSpPr>
            <p:spPr bwMode="auto">
              <a:xfrm>
                <a:off x="1409701" y="1604963"/>
                <a:ext cx="342900" cy="360363"/>
              </a:xfrm>
              <a:custGeom>
                <a:avLst/>
                <a:gdLst>
                  <a:gd name="T0" fmla="*/ 3871 w 3920"/>
                  <a:gd name="T1" fmla="*/ 3730 h 4112"/>
                  <a:gd name="T2" fmla="*/ 3666 w 3920"/>
                  <a:gd name="T3" fmla="*/ 3730 h 4112"/>
                  <a:gd name="T4" fmla="*/ 3666 w 3920"/>
                  <a:gd name="T5" fmla="*/ 3632 h 4112"/>
                  <a:gd name="T6" fmla="*/ 3611 w 3920"/>
                  <a:gd name="T7" fmla="*/ 3576 h 4112"/>
                  <a:gd name="T8" fmla="*/ 312 w 3920"/>
                  <a:gd name="T9" fmla="*/ 3576 h 4112"/>
                  <a:gd name="T10" fmla="*/ 257 w 3920"/>
                  <a:gd name="T11" fmla="*/ 3632 h 4112"/>
                  <a:gd name="T12" fmla="*/ 257 w 3920"/>
                  <a:gd name="T13" fmla="*/ 3730 h 4112"/>
                  <a:gd name="T14" fmla="*/ 52 w 3920"/>
                  <a:gd name="T15" fmla="*/ 3730 h 4112"/>
                  <a:gd name="T16" fmla="*/ 0 w 3920"/>
                  <a:gd name="T17" fmla="*/ 3787 h 4112"/>
                  <a:gd name="T18" fmla="*/ 0 w 3920"/>
                  <a:gd name="T19" fmla="*/ 4057 h 4112"/>
                  <a:gd name="T20" fmla="*/ 52 w 3920"/>
                  <a:gd name="T21" fmla="*/ 4112 h 4112"/>
                  <a:gd name="T22" fmla="*/ 3871 w 3920"/>
                  <a:gd name="T23" fmla="*/ 4112 h 4112"/>
                  <a:gd name="T24" fmla="*/ 3920 w 3920"/>
                  <a:gd name="T25" fmla="*/ 4057 h 4112"/>
                  <a:gd name="T26" fmla="*/ 3920 w 3920"/>
                  <a:gd name="T27" fmla="*/ 3787 h 4112"/>
                  <a:gd name="T28" fmla="*/ 3871 w 3920"/>
                  <a:gd name="T29" fmla="*/ 3730 h 4112"/>
                  <a:gd name="T30" fmla="*/ 3758 w 3920"/>
                  <a:gd name="T31" fmla="*/ 1574 h 4112"/>
                  <a:gd name="T32" fmla="*/ 3758 w 3920"/>
                  <a:gd name="T33" fmla="*/ 1849 h 4112"/>
                  <a:gd name="T34" fmla="*/ 3670 w 3920"/>
                  <a:gd name="T35" fmla="*/ 1886 h 4112"/>
                  <a:gd name="T36" fmla="*/ 1999 w 3920"/>
                  <a:gd name="T37" fmla="*/ 435 h 4112"/>
                  <a:gd name="T38" fmla="*/ 1924 w 3920"/>
                  <a:gd name="T39" fmla="*/ 435 h 4112"/>
                  <a:gd name="T40" fmla="*/ 253 w 3920"/>
                  <a:gd name="T41" fmla="*/ 1886 h 4112"/>
                  <a:gd name="T42" fmla="*/ 164 w 3920"/>
                  <a:gd name="T43" fmla="*/ 1849 h 4112"/>
                  <a:gd name="T44" fmla="*/ 164 w 3920"/>
                  <a:gd name="T45" fmla="*/ 1574 h 4112"/>
                  <a:gd name="T46" fmla="*/ 183 w 3920"/>
                  <a:gd name="T47" fmla="*/ 1531 h 4112"/>
                  <a:gd name="T48" fmla="*/ 1924 w 3920"/>
                  <a:gd name="T49" fmla="*/ 21 h 4112"/>
                  <a:gd name="T50" fmla="*/ 1999 w 3920"/>
                  <a:gd name="T51" fmla="*/ 21 h 4112"/>
                  <a:gd name="T52" fmla="*/ 3740 w 3920"/>
                  <a:gd name="T53" fmla="*/ 1531 h 4112"/>
                  <a:gd name="T54" fmla="*/ 3758 w 3920"/>
                  <a:gd name="T55" fmla="*/ 1574 h 4112"/>
                  <a:gd name="T56" fmla="*/ 870 w 3920"/>
                  <a:gd name="T57" fmla="*/ 622 h 4112"/>
                  <a:gd name="T58" fmla="*/ 870 w 3920"/>
                  <a:gd name="T59" fmla="*/ 52 h 4112"/>
                  <a:gd name="T60" fmla="*/ 916 w 3920"/>
                  <a:gd name="T61" fmla="*/ 6 h 4112"/>
                  <a:gd name="T62" fmla="*/ 1157 w 3920"/>
                  <a:gd name="T63" fmla="*/ 6 h 4112"/>
                  <a:gd name="T64" fmla="*/ 1203 w 3920"/>
                  <a:gd name="T65" fmla="*/ 52 h 4112"/>
                  <a:gd name="T66" fmla="*/ 1203 w 3920"/>
                  <a:gd name="T67" fmla="*/ 333 h 4112"/>
                  <a:gd name="T68" fmla="*/ 870 w 3920"/>
                  <a:gd name="T69" fmla="*/ 622 h 4112"/>
                  <a:gd name="T70" fmla="*/ 1960 w 3920"/>
                  <a:gd name="T71" fmla="*/ 720 h 4112"/>
                  <a:gd name="T72" fmla="*/ 586 w 3920"/>
                  <a:gd name="T73" fmla="*/ 1910 h 4112"/>
                  <a:gd name="T74" fmla="*/ 586 w 3920"/>
                  <a:gd name="T75" fmla="*/ 3338 h 4112"/>
                  <a:gd name="T76" fmla="*/ 2152 w 3920"/>
                  <a:gd name="T77" fmla="*/ 3338 h 4112"/>
                  <a:gd name="T78" fmla="*/ 2152 w 3920"/>
                  <a:gd name="T79" fmla="*/ 2373 h 4112"/>
                  <a:gd name="T80" fmla="*/ 2174 w 3920"/>
                  <a:gd name="T81" fmla="*/ 2349 h 4112"/>
                  <a:gd name="T82" fmla="*/ 2705 w 3920"/>
                  <a:gd name="T83" fmla="*/ 2349 h 4112"/>
                  <a:gd name="T84" fmla="*/ 2727 w 3920"/>
                  <a:gd name="T85" fmla="*/ 2373 h 4112"/>
                  <a:gd name="T86" fmla="*/ 2727 w 3920"/>
                  <a:gd name="T87" fmla="*/ 3338 h 4112"/>
                  <a:gd name="T88" fmla="*/ 3337 w 3920"/>
                  <a:gd name="T89" fmla="*/ 3338 h 4112"/>
                  <a:gd name="T90" fmla="*/ 3337 w 3920"/>
                  <a:gd name="T91" fmla="*/ 1910 h 4112"/>
                  <a:gd name="T92" fmla="*/ 1960 w 3920"/>
                  <a:gd name="T93" fmla="*/ 720 h 4112"/>
                  <a:gd name="T94" fmla="*/ 1771 w 3920"/>
                  <a:gd name="T95" fmla="*/ 2848 h 4112"/>
                  <a:gd name="T96" fmla="*/ 1725 w 3920"/>
                  <a:gd name="T97" fmla="*/ 2896 h 4112"/>
                  <a:gd name="T98" fmla="*/ 1242 w 3920"/>
                  <a:gd name="T99" fmla="*/ 2896 h 4112"/>
                  <a:gd name="T100" fmla="*/ 1194 w 3920"/>
                  <a:gd name="T101" fmla="*/ 2848 h 4112"/>
                  <a:gd name="T102" fmla="*/ 1194 w 3920"/>
                  <a:gd name="T103" fmla="*/ 2367 h 4112"/>
                  <a:gd name="T104" fmla="*/ 1242 w 3920"/>
                  <a:gd name="T105" fmla="*/ 2321 h 4112"/>
                  <a:gd name="T106" fmla="*/ 1725 w 3920"/>
                  <a:gd name="T107" fmla="*/ 2321 h 4112"/>
                  <a:gd name="T108" fmla="*/ 1771 w 3920"/>
                  <a:gd name="T109" fmla="*/ 2367 h 4112"/>
                  <a:gd name="T110" fmla="*/ 1771 w 3920"/>
                  <a:gd name="T111" fmla="*/ 2848 h 4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20" h="4112">
                    <a:moveTo>
                      <a:pt x="3871" y="3730"/>
                    </a:moveTo>
                    <a:cubicBezTo>
                      <a:pt x="3666" y="3730"/>
                      <a:pt x="3666" y="3730"/>
                      <a:pt x="3666" y="3730"/>
                    </a:cubicBezTo>
                    <a:cubicBezTo>
                      <a:pt x="3666" y="3632"/>
                      <a:pt x="3666" y="3632"/>
                      <a:pt x="3666" y="3632"/>
                    </a:cubicBezTo>
                    <a:cubicBezTo>
                      <a:pt x="3666" y="3600"/>
                      <a:pt x="3639" y="3576"/>
                      <a:pt x="3611" y="3576"/>
                    </a:cubicBezTo>
                    <a:cubicBezTo>
                      <a:pt x="312" y="3576"/>
                      <a:pt x="312" y="3576"/>
                      <a:pt x="312" y="3576"/>
                    </a:cubicBezTo>
                    <a:cubicBezTo>
                      <a:pt x="284" y="3576"/>
                      <a:pt x="257" y="3600"/>
                      <a:pt x="257" y="3632"/>
                    </a:cubicBezTo>
                    <a:cubicBezTo>
                      <a:pt x="257" y="3730"/>
                      <a:pt x="257" y="3730"/>
                      <a:pt x="257" y="3730"/>
                    </a:cubicBezTo>
                    <a:cubicBezTo>
                      <a:pt x="52" y="3730"/>
                      <a:pt x="52" y="3730"/>
                      <a:pt x="52" y="3730"/>
                    </a:cubicBezTo>
                    <a:cubicBezTo>
                      <a:pt x="24" y="3730"/>
                      <a:pt x="0" y="3754"/>
                      <a:pt x="0" y="3787"/>
                    </a:cubicBezTo>
                    <a:cubicBezTo>
                      <a:pt x="0" y="4057"/>
                      <a:pt x="0" y="4057"/>
                      <a:pt x="0" y="4057"/>
                    </a:cubicBezTo>
                    <a:cubicBezTo>
                      <a:pt x="0" y="4090"/>
                      <a:pt x="24" y="4112"/>
                      <a:pt x="52" y="4112"/>
                    </a:cubicBezTo>
                    <a:cubicBezTo>
                      <a:pt x="3871" y="4112"/>
                      <a:pt x="3871" y="4112"/>
                      <a:pt x="3871" y="4112"/>
                    </a:cubicBezTo>
                    <a:cubicBezTo>
                      <a:pt x="3898" y="4112"/>
                      <a:pt x="3920" y="4090"/>
                      <a:pt x="3920" y="4057"/>
                    </a:cubicBezTo>
                    <a:cubicBezTo>
                      <a:pt x="3920" y="3787"/>
                      <a:pt x="3920" y="3787"/>
                      <a:pt x="3920" y="3787"/>
                    </a:cubicBezTo>
                    <a:cubicBezTo>
                      <a:pt x="3920" y="3754"/>
                      <a:pt x="3898" y="3730"/>
                      <a:pt x="3871" y="3730"/>
                    </a:cubicBezTo>
                    <a:close/>
                    <a:moveTo>
                      <a:pt x="3758" y="1574"/>
                    </a:moveTo>
                    <a:cubicBezTo>
                      <a:pt x="3758" y="1849"/>
                      <a:pt x="3758" y="1849"/>
                      <a:pt x="3758" y="1849"/>
                    </a:cubicBezTo>
                    <a:cubicBezTo>
                      <a:pt x="3758" y="1896"/>
                      <a:pt x="3703" y="1920"/>
                      <a:pt x="3670" y="1886"/>
                    </a:cubicBezTo>
                    <a:cubicBezTo>
                      <a:pt x="1999" y="435"/>
                      <a:pt x="1999" y="435"/>
                      <a:pt x="1999" y="435"/>
                    </a:cubicBezTo>
                    <a:cubicBezTo>
                      <a:pt x="1975" y="422"/>
                      <a:pt x="1948" y="422"/>
                      <a:pt x="1924" y="435"/>
                    </a:cubicBezTo>
                    <a:cubicBezTo>
                      <a:pt x="253" y="1886"/>
                      <a:pt x="253" y="1886"/>
                      <a:pt x="253" y="1886"/>
                    </a:cubicBezTo>
                    <a:cubicBezTo>
                      <a:pt x="220" y="1920"/>
                      <a:pt x="164" y="1896"/>
                      <a:pt x="164" y="1849"/>
                    </a:cubicBezTo>
                    <a:cubicBezTo>
                      <a:pt x="164" y="1574"/>
                      <a:pt x="164" y="1574"/>
                      <a:pt x="164" y="1574"/>
                    </a:cubicBezTo>
                    <a:cubicBezTo>
                      <a:pt x="164" y="1561"/>
                      <a:pt x="168" y="1542"/>
                      <a:pt x="183" y="1531"/>
                    </a:cubicBezTo>
                    <a:cubicBezTo>
                      <a:pt x="1924" y="21"/>
                      <a:pt x="1924" y="21"/>
                      <a:pt x="1924" y="21"/>
                    </a:cubicBezTo>
                    <a:cubicBezTo>
                      <a:pt x="1948" y="0"/>
                      <a:pt x="1975" y="0"/>
                      <a:pt x="1999" y="21"/>
                    </a:cubicBezTo>
                    <a:cubicBezTo>
                      <a:pt x="3740" y="1531"/>
                      <a:pt x="3740" y="1531"/>
                      <a:pt x="3740" y="1531"/>
                    </a:cubicBezTo>
                    <a:cubicBezTo>
                      <a:pt x="3755" y="1542"/>
                      <a:pt x="3758" y="1561"/>
                      <a:pt x="3758" y="1574"/>
                    </a:cubicBezTo>
                    <a:close/>
                    <a:moveTo>
                      <a:pt x="870" y="622"/>
                    </a:moveTo>
                    <a:cubicBezTo>
                      <a:pt x="870" y="52"/>
                      <a:pt x="870" y="52"/>
                      <a:pt x="870" y="52"/>
                    </a:cubicBezTo>
                    <a:cubicBezTo>
                      <a:pt x="870" y="30"/>
                      <a:pt x="888" y="6"/>
                      <a:pt x="916" y="6"/>
                    </a:cubicBezTo>
                    <a:cubicBezTo>
                      <a:pt x="1157" y="6"/>
                      <a:pt x="1157" y="6"/>
                      <a:pt x="1157" y="6"/>
                    </a:cubicBezTo>
                    <a:cubicBezTo>
                      <a:pt x="1181" y="6"/>
                      <a:pt x="1203" y="30"/>
                      <a:pt x="1203" y="52"/>
                    </a:cubicBezTo>
                    <a:cubicBezTo>
                      <a:pt x="1203" y="333"/>
                      <a:pt x="1203" y="333"/>
                      <a:pt x="1203" y="333"/>
                    </a:cubicBezTo>
                    <a:lnTo>
                      <a:pt x="870" y="622"/>
                    </a:lnTo>
                    <a:close/>
                    <a:moveTo>
                      <a:pt x="1960" y="720"/>
                    </a:moveTo>
                    <a:cubicBezTo>
                      <a:pt x="586" y="1910"/>
                      <a:pt x="586" y="1910"/>
                      <a:pt x="586" y="1910"/>
                    </a:cubicBezTo>
                    <a:cubicBezTo>
                      <a:pt x="586" y="3338"/>
                      <a:pt x="586" y="3338"/>
                      <a:pt x="586" y="3338"/>
                    </a:cubicBezTo>
                    <a:cubicBezTo>
                      <a:pt x="2152" y="3338"/>
                      <a:pt x="2152" y="3338"/>
                      <a:pt x="2152" y="3338"/>
                    </a:cubicBezTo>
                    <a:cubicBezTo>
                      <a:pt x="2152" y="2373"/>
                      <a:pt x="2152" y="2373"/>
                      <a:pt x="2152" y="2373"/>
                    </a:cubicBezTo>
                    <a:cubicBezTo>
                      <a:pt x="2152" y="2358"/>
                      <a:pt x="2165" y="2349"/>
                      <a:pt x="2174" y="2349"/>
                    </a:cubicBezTo>
                    <a:cubicBezTo>
                      <a:pt x="2705" y="2349"/>
                      <a:pt x="2705" y="2349"/>
                      <a:pt x="2705" y="2349"/>
                    </a:cubicBezTo>
                    <a:cubicBezTo>
                      <a:pt x="2714" y="2349"/>
                      <a:pt x="2727" y="2358"/>
                      <a:pt x="2727" y="2373"/>
                    </a:cubicBezTo>
                    <a:cubicBezTo>
                      <a:pt x="2727" y="3338"/>
                      <a:pt x="2727" y="3338"/>
                      <a:pt x="2727" y="3338"/>
                    </a:cubicBezTo>
                    <a:cubicBezTo>
                      <a:pt x="3337" y="3338"/>
                      <a:pt x="3337" y="3338"/>
                      <a:pt x="3337" y="3338"/>
                    </a:cubicBezTo>
                    <a:cubicBezTo>
                      <a:pt x="3337" y="1910"/>
                      <a:pt x="3337" y="1910"/>
                      <a:pt x="3337" y="1910"/>
                    </a:cubicBezTo>
                    <a:lnTo>
                      <a:pt x="1960" y="720"/>
                    </a:lnTo>
                    <a:close/>
                    <a:moveTo>
                      <a:pt x="1771" y="2848"/>
                    </a:moveTo>
                    <a:cubicBezTo>
                      <a:pt x="1771" y="2877"/>
                      <a:pt x="1747" y="2896"/>
                      <a:pt x="1725" y="2896"/>
                    </a:cubicBezTo>
                    <a:cubicBezTo>
                      <a:pt x="1242" y="2896"/>
                      <a:pt x="1242" y="2896"/>
                      <a:pt x="1242" y="2896"/>
                    </a:cubicBezTo>
                    <a:cubicBezTo>
                      <a:pt x="1218" y="2896"/>
                      <a:pt x="1194" y="2877"/>
                      <a:pt x="1194" y="2848"/>
                    </a:cubicBezTo>
                    <a:cubicBezTo>
                      <a:pt x="1194" y="2367"/>
                      <a:pt x="1194" y="2367"/>
                      <a:pt x="1194" y="2367"/>
                    </a:cubicBezTo>
                    <a:cubicBezTo>
                      <a:pt x="1194" y="2345"/>
                      <a:pt x="1218" y="2321"/>
                      <a:pt x="1242" y="2321"/>
                    </a:cubicBezTo>
                    <a:cubicBezTo>
                      <a:pt x="1725" y="2321"/>
                      <a:pt x="1725" y="2321"/>
                      <a:pt x="1725" y="2321"/>
                    </a:cubicBezTo>
                    <a:cubicBezTo>
                      <a:pt x="1747" y="2321"/>
                      <a:pt x="1771" y="2345"/>
                      <a:pt x="1771" y="2367"/>
                    </a:cubicBezTo>
                    <a:lnTo>
                      <a:pt x="1771" y="2848"/>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200" dirty="0"/>
              </a:p>
            </p:txBody>
          </p:sp>
          <p:sp>
            <p:nvSpPr>
              <p:cNvPr id="16" name="Freeform 16">
                <a:extLst>
                  <a:ext uri="{FF2B5EF4-FFF2-40B4-BE49-F238E27FC236}">
                    <a16:creationId xmlns:a16="http://schemas.microsoft.com/office/drawing/2014/main" id="{FF87CF12-5452-4482-90AF-C69502289C9E}"/>
                  </a:ext>
                </a:extLst>
              </p:cNvPr>
              <p:cNvSpPr>
                <a:spLocks noEditPoints="1"/>
              </p:cNvSpPr>
              <p:nvPr/>
            </p:nvSpPr>
            <p:spPr bwMode="auto">
              <a:xfrm>
                <a:off x="833438" y="1443038"/>
                <a:ext cx="1076325" cy="722313"/>
              </a:xfrm>
              <a:custGeom>
                <a:avLst/>
                <a:gdLst>
                  <a:gd name="T0" fmla="*/ 11924 w 12336"/>
                  <a:gd name="T1" fmla="*/ 5686 h 8272"/>
                  <a:gd name="T2" fmla="*/ 11976 w 12336"/>
                  <a:gd name="T3" fmla="*/ 2841 h 8272"/>
                  <a:gd name="T4" fmla="*/ 7181 w 12336"/>
                  <a:gd name="T5" fmla="*/ 747 h 8272"/>
                  <a:gd name="T6" fmla="*/ 5140 w 12336"/>
                  <a:gd name="T7" fmla="*/ 2713 h 8272"/>
                  <a:gd name="T8" fmla="*/ 4929 w 12336"/>
                  <a:gd name="T9" fmla="*/ 5085 h 8272"/>
                  <a:gd name="T10" fmla="*/ 4243 w 12336"/>
                  <a:gd name="T11" fmla="*/ 5352 h 8272"/>
                  <a:gd name="T12" fmla="*/ 4134 w 12336"/>
                  <a:gd name="T13" fmla="*/ 5091 h 8272"/>
                  <a:gd name="T14" fmla="*/ 3982 w 12336"/>
                  <a:gd name="T15" fmla="*/ 4924 h 8272"/>
                  <a:gd name="T16" fmla="*/ 3772 w 12336"/>
                  <a:gd name="T17" fmla="*/ 4928 h 8272"/>
                  <a:gd name="T18" fmla="*/ 476 w 12336"/>
                  <a:gd name="T19" fmla="*/ 6214 h 8272"/>
                  <a:gd name="T20" fmla="*/ 219 w 12336"/>
                  <a:gd name="T21" fmla="*/ 7465 h 8272"/>
                  <a:gd name="T22" fmla="*/ 609 w 12336"/>
                  <a:gd name="T23" fmla="*/ 8048 h 8272"/>
                  <a:gd name="T24" fmla="*/ 733 w 12336"/>
                  <a:gd name="T25" fmla="*/ 8139 h 8272"/>
                  <a:gd name="T26" fmla="*/ 1258 w 12336"/>
                  <a:gd name="T27" fmla="*/ 8208 h 8272"/>
                  <a:gd name="T28" fmla="*/ 4541 w 12336"/>
                  <a:gd name="T29" fmla="*/ 6914 h 8272"/>
                  <a:gd name="T30" fmla="*/ 4705 w 12336"/>
                  <a:gd name="T31" fmla="*/ 6551 h 8272"/>
                  <a:gd name="T32" fmla="*/ 4592 w 12336"/>
                  <a:gd name="T33" fmla="*/ 6271 h 8272"/>
                  <a:gd name="T34" fmla="*/ 5295 w 12336"/>
                  <a:gd name="T35" fmla="*/ 6001 h 8272"/>
                  <a:gd name="T36" fmla="*/ 6583 w 12336"/>
                  <a:gd name="T37" fmla="*/ 7361 h 8272"/>
                  <a:gd name="T38" fmla="*/ 7047 w 12336"/>
                  <a:gd name="T39" fmla="*/ 7602 h 8272"/>
                  <a:gd name="T40" fmla="*/ 9883 w 12336"/>
                  <a:gd name="T41" fmla="*/ 7652 h 8272"/>
                  <a:gd name="T42" fmla="*/ 11924 w 12336"/>
                  <a:gd name="T43" fmla="*/ 5686 h 8272"/>
                  <a:gd name="T44" fmla="*/ 9678 w 12336"/>
                  <a:gd name="T45" fmla="*/ 7135 h 8272"/>
                  <a:gd name="T46" fmla="*/ 5604 w 12336"/>
                  <a:gd name="T47" fmla="*/ 5350 h 8272"/>
                  <a:gd name="T48" fmla="*/ 7386 w 12336"/>
                  <a:gd name="T49" fmla="*/ 1262 h 8272"/>
                  <a:gd name="T50" fmla="*/ 10177 w 12336"/>
                  <a:gd name="T51" fmla="*/ 1511 h 8272"/>
                  <a:gd name="T52" fmla="*/ 11460 w 12336"/>
                  <a:gd name="T53" fmla="*/ 3049 h 8272"/>
                  <a:gd name="T54" fmla="*/ 11407 w 12336"/>
                  <a:gd name="T55" fmla="*/ 5458 h 8272"/>
                  <a:gd name="T56" fmla="*/ 9678 w 12336"/>
                  <a:gd name="T57" fmla="*/ 7135 h 8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36" h="8272">
                    <a:moveTo>
                      <a:pt x="11924" y="5686"/>
                    </a:moveTo>
                    <a:cubicBezTo>
                      <a:pt x="12318" y="4774"/>
                      <a:pt x="12336" y="3766"/>
                      <a:pt x="11976" y="2841"/>
                    </a:cubicBezTo>
                    <a:cubicBezTo>
                      <a:pt x="11227" y="942"/>
                      <a:pt x="9085" y="0"/>
                      <a:pt x="7181" y="747"/>
                    </a:cubicBezTo>
                    <a:cubicBezTo>
                      <a:pt x="6256" y="1109"/>
                      <a:pt x="5533" y="1802"/>
                      <a:pt x="5140" y="2713"/>
                    </a:cubicBezTo>
                    <a:cubicBezTo>
                      <a:pt x="4812" y="3471"/>
                      <a:pt x="4740" y="4296"/>
                      <a:pt x="4929" y="5085"/>
                    </a:cubicBezTo>
                    <a:cubicBezTo>
                      <a:pt x="4243" y="5352"/>
                      <a:pt x="4243" y="5352"/>
                      <a:pt x="4243" y="5352"/>
                    </a:cubicBezTo>
                    <a:cubicBezTo>
                      <a:pt x="4134" y="5091"/>
                      <a:pt x="4134" y="5091"/>
                      <a:pt x="4134" y="5091"/>
                    </a:cubicBezTo>
                    <a:cubicBezTo>
                      <a:pt x="4106" y="5015"/>
                      <a:pt x="4055" y="4952"/>
                      <a:pt x="3982" y="4924"/>
                    </a:cubicBezTo>
                    <a:cubicBezTo>
                      <a:pt x="3921" y="4902"/>
                      <a:pt x="3836" y="4894"/>
                      <a:pt x="3772" y="4928"/>
                    </a:cubicBezTo>
                    <a:cubicBezTo>
                      <a:pt x="476" y="6214"/>
                      <a:pt x="476" y="6214"/>
                      <a:pt x="476" y="6214"/>
                    </a:cubicBezTo>
                    <a:cubicBezTo>
                      <a:pt x="113" y="6366"/>
                      <a:pt x="0" y="6894"/>
                      <a:pt x="219" y="7465"/>
                    </a:cubicBezTo>
                    <a:cubicBezTo>
                      <a:pt x="313" y="7702"/>
                      <a:pt x="455" y="7907"/>
                      <a:pt x="609" y="8048"/>
                    </a:cubicBezTo>
                    <a:cubicBezTo>
                      <a:pt x="662" y="8082"/>
                      <a:pt x="699" y="8119"/>
                      <a:pt x="733" y="8139"/>
                    </a:cubicBezTo>
                    <a:cubicBezTo>
                      <a:pt x="906" y="8245"/>
                      <a:pt x="1097" y="8272"/>
                      <a:pt x="1258" y="8208"/>
                    </a:cubicBezTo>
                    <a:cubicBezTo>
                      <a:pt x="4541" y="6914"/>
                      <a:pt x="4541" y="6914"/>
                      <a:pt x="4541" y="6914"/>
                    </a:cubicBezTo>
                    <a:cubicBezTo>
                      <a:pt x="4678" y="6864"/>
                      <a:pt x="4750" y="6697"/>
                      <a:pt x="4705" y="6551"/>
                    </a:cubicBezTo>
                    <a:cubicBezTo>
                      <a:pt x="4592" y="6271"/>
                      <a:pt x="4592" y="6271"/>
                      <a:pt x="4592" y="6271"/>
                    </a:cubicBezTo>
                    <a:cubicBezTo>
                      <a:pt x="5295" y="6001"/>
                      <a:pt x="5295" y="6001"/>
                      <a:pt x="5295" y="6001"/>
                    </a:cubicBezTo>
                    <a:cubicBezTo>
                      <a:pt x="5606" y="6566"/>
                      <a:pt x="6040" y="7027"/>
                      <a:pt x="6583" y="7361"/>
                    </a:cubicBezTo>
                    <a:cubicBezTo>
                      <a:pt x="6735" y="7453"/>
                      <a:pt x="6883" y="7529"/>
                      <a:pt x="7047" y="7602"/>
                    </a:cubicBezTo>
                    <a:cubicBezTo>
                      <a:pt x="7957" y="7996"/>
                      <a:pt x="8961" y="8013"/>
                      <a:pt x="9883" y="7652"/>
                    </a:cubicBezTo>
                    <a:cubicBezTo>
                      <a:pt x="10808" y="7290"/>
                      <a:pt x="11530" y="6597"/>
                      <a:pt x="11924" y="5686"/>
                    </a:cubicBezTo>
                    <a:close/>
                    <a:moveTo>
                      <a:pt x="9678" y="7135"/>
                    </a:moveTo>
                    <a:cubicBezTo>
                      <a:pt x="8068" y="7765"/>
                      <a:pt x="6240" y="6970"/>
                      <a:pt x="5604" y="5350"/>
                    </a:cubicBezTo>
                    <a:cubicBezTo>
                      <a:pt x="4977" y="3738"/>
                      <a:pt x="5770" y="1904"/>
                      <a:pt x="7386" y="1262"/>
                    </a:cubicBezTo>
                    <a:cubicBezTo>
                      <a:pt x="8345" y="894"/>
                      <a:pt x="9375" y="1016"/>
                      <a:pt x="10177" y="1511"/>
                    </a:cubicBezTo>
                    <a:cubicBezTo>
                      <a:pt x="10741" y="1857"/>
                      <a:pt x="11192" y="2389"/>
                      <a:pt x="11460" y="3049"/>
                    </a:cubicBezTo>
                    <a:cubicBezTo>
                      <a:pt x="11760" y="3831"/>
                      <a:pt x="11741" y="4689"/>
                      <a:pt x="11407" y="5458"/>
                    </a:cubicBezTo>
                    <a:cubicBezTo>
                      <a:pt x="11070" y="6225"/>
                      <a:pt x="10464" y="6825"/>
                      <a:pt x="9678" y="7135"/>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200"/>
              </a:p>
            </p:txBody>
          </p:sp>
        </p:grpSp>
        <p:sp>
          <p:nvSpPr>
            <p:cNvPr id="18" name="Rectangle 18">
              <a:extLst>
                <a:ext uri="{FF2B5EF4-FFF2-40B4-BE49-F238E27FC236}">
                  <a16:creationId xmlns:a16="http://schemas.microsoft.com/office/drawing/2014/main" id="{E94DA9E5-5E46-42CC-9F0D-4E1719EB6B8E}"/>
                </a:ext>
              </a:extLst>
            </p:cNvPr>
            <p:cNvSpPr>
              <a:spLocks noChangeArrowheads="1"/>
            </p:cNvSpPr>
            <p:nvPr/>
          </p:nvSpPr>
          <p:spPr bwMode="auto">
            <a:xfrm>
              <a:off x="1966913" y="1658938"/>
              <a:ext cx="2020708" cy="664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err="1">
                  <a:ln>
                    <a:noFill/>
                  </a:ln>
                  <a:solidFill>
                    <a:schemeClr val="tx2"/>
                  </a:solidFill>
                  <a:effectLst/>
                  <a:latin typeface="Trebuchet MS" panose="020B0603020202020204" pitchFamily="34" charset="0"/>
                </a:rPr>
                <a:t>GetReal</a:t>
              </a:r>
              <a:endParaRPr kumimoji="0" lang="en-US" altLang="en-US" sz="1200" b="0" i="0" u="none" strike="noStrike" cap="none" normalizeH="0" baseline="0" dirty="0">
                <a:ln>
                  <a:noFill/>
                </a:ln>
                <a:solidFill>
                  <a:schemeClr val="tx2"/>
                </a:solidFill>
                <a:effectLst/>
                <a:latin typeface="Arial" panose="020B0604020202020204" pitchFamily="34" charset="0"/>
              </a:endParaRPr>
            </a:p>
          </p:txBody>
        </p:sp>
      </p:grpSp>
    </p:spTree>
    <p:extLst>
      <p:ext uri="{BB962C8B-B14F-4D97-AF65-F5344CB8AC3E}">
        <p14:creationId xmlns:p14="http://schemas.microsoft.com/office/powerpoint/2010/main" val="2766344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2097924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4" name="think-cell Slide" r:id="rId5" imgW="608" imgH="606" progId="TCLayout.ActiveDocument.1">
                  <p:embed/>
                </p:oleObj>
              </mc:Choice>
              <mc:Fallback>
                <p:oleObj name="think-cell Slide" r:id="rId5"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p:txBody>
          <a:bodyPr vert="horz"/>
          <a:lstStyle/>
          <a:p>
            <a:r>
              <a:rPr lang="cs-CZ" dirty="0" err="1"/>
              <a:t>Next</a:t>
            </a:r>
            <a:r>
              <a:rPr lang="cs-CZ" dirty="0"/>
              <a:t> </a:t>
            </a:r>
            <a:r>
              <a:rPr lang="cs-CZ" dirty="0" err="1"/>
              <a:t>steps</a:t>
            </a:r>
            <a:r>
              <a:rPr lang="cs-CZ" dirty="0"/>
              <a:t> and </a:t>
            </a:r>
            <a:r>
              <a:rPr lang="cs-CZ" dirty="0" err="1"/>
              <a:t>future</a:t>
            </a:r>
            <a:r>
              <a:rPr lang="cs-CZ" dirty="0"/>
              <a:t> of </a:t>
            </a:r>
            <a:r>
              <a:rPr lang="cs-CZ" dirty="0" err="1"/>
              <a:t>project</a:t>
            </a:r>
            <a:endParaRPr lang="en-GB" dirty="0"/>
          </a:p>
        </p:txBody>
      </p:sp>
      <p:grpSp>
        <p:nvGrpSpPr>
          <p:cNvPr id="6" name="bcgIcons_DigitalInnovation">
            <a:extLst>
              <a:ext uri="{FF2B5EF4-FFF2-40B4-BE49-F238E27FC236}">
                <a16:creationId xmlns:a16="http://schemas.microsoft.com/office/drawing/2014/main" id="{0DB6C4C9-5BD7-486E-B07A-B2BCF98CC5A5}"/>
              </a:ext>
            </a:extLst>
          </p:cNvPr>
          <p:cNvGrpSpPr>
            <a:grpSpLocks noChangeAspect="1"/>
          </p:cNvGrpSpPr>
          <p:nvPr/>
        </p:nvGrpSpPr>
        <p:grpSpPr bwMode="auto">
          <a:xfrm>
            <a:off x="8760296" y="2060848"/>
            <a:ext cx="1370621" cy="2317302"/>
            <a:chOff x="2864" y="501"/>
            <a:chExt cx="1956" cy="3307"/>
          </a:xfrm>
        </p:grpSpPr>
        <p:sp>
          <p:nvSpPr>
            <p:cNvPr id="9" name="Freeform 15">
              <a:extLst>
                <a:ext uri="{FF2B5EF4-FFF2-40B4-BE49-F238E27FC236}">
                  <a16:creationId xmlns:a16="http://schemas.microsoft.com/office/drawing/2014/main" id="{BABA10F9-B4F1-433C-85FB-A06599F7FC74}"/>
                </a:ext>
              </a:extLst>
            </p:cNvPr>
            <p:cNvSpPr>
              <a:spLocks noEditPoints="1"/>
            </p:cNvSpPr>
            <p:nvPr/>
          </p:nvSpPr>
          <p:spPr bwMode="auto">
            <a:xfrm>
              <a:off x="2864" y="501"/>
              <a:ext cx="1956" cy="330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522 w 1044"/>
                <a:gd name="T19" fmla="*/ 1757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410" y="1764"/>
                    <a:pt x="506" y="1758"/>
                    <a:pt x="522" y="1757"/>
                  </a:cubicBezTo>
                  <a:cubicBezTo>
                    <a:pt x="526" y="1758"/>
                    <a:pt x="535" y="1758"/>
                    <a:pt x="547" y="1758"/>
                  </a:cubicBezTo>
                  <a:cubicBezTo>
                    <a:pt x="585" y="1758"/>
                    <a:pt x="659" y="1753"/>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16">
              <a:extLst>
                <a:ext uri="{FF2B5EF4-FFF2-40B4-BE49-F238E27FC236}">
                  <a16:creationId xmlns:a16="http://schemas.microsoft.com/office/drawing/2014/main" id="{473C0A7C-3C54-4F06-8AD8-7165EA301B41}"/>
                </a:ext>
              </a:extLst>
            </p:cNvPr>
            <p:cNvSpPr>
              <a:spLocks noEditPoints="1"/>
            </p:cNvSpPr>
            <p:nvPr/>
          </p:nvSpPr>
          <p:spPr bwMode="auto">
            <a:xfrm>
              <a:off x="3023" y="660"/>
              <a:ext cx="1638" cy="2130"/>
            </a:xfrm>
            <a:custGeom>
              <a:avLst/>
              <a:gdLst>
                <a:gd name="T0" fmla="*/ 482 w 874"/>
                <a:gd name="T1" fmla="*/ 304 h 1136"/>
                <a:gd name="T2" fmla="*/ 482 w 874"/>
                <a:gd name="T3" fmla="*/ 259 h 1136"/>
                <a:gd name="T4" fmla="*/ 513 w 874"/>
                <a:gd name="T5" fmla="*/ 554 h 1136"/>
                <a:gd name="T6" fmla="*/ 513 w 874"/>
                <a:gd name="T7" fmla="*/ 599 h 1136"/>
                <a:gd name="T8" fmla="*/ 513 w 874"/>
                <a:gd name="T9" fmla="*/ 554 h 1136"/>
                <a:gd name="T10" fmla="*/ 160 w 874"/>
                <a:gd name="T11" fmla="*/ 605 h 1136"/>
                <a:gd name="T12" fmla="*/ 206 w 874"/>
                <a:gd name="T13" fmla="*/ 605 h 1136"/>
                <a:gd name="T14" fmla="*/ 328 w 874"/>
                <a:gd name="T15" fmla="*/ 699 h 1136"/>
                <a:gd name="T16" fmla="*/ 328 w 874"/>
                <a:gd name="T17" fmla="*/ 744 h 1136"/>
                <a:gd name="T18" fmla="*/ 328 w 874"/>
                <a:gd name="T19" fmla="*/ 699 h 1136"/>
                <a:gd name="T20" fmla="*/ 716 w 874"/>
                <a:gd name="T21" fmla="*/ 361 h 1136"/>
                <a:gd name="T22" fmla="*/ 761 w 874"/>
                <a:gd name="T23" fmla="*/ 361 h 1136"/>
                <a:gd name="T24" fmla="*/ 874 w 874"/>
                <a:gd name="T25" fmla="*/ 436 h 1136"/>
                <a:gd name="T26" fmla="*/ 611 w 874"/>
                <a:gd name="T27" fmla="*/ 1045 h 1136"/>
                <a:gd name="T28" fmla="*/ 263 w 874"/>
                <a:gd name="T29" fmla="*/ 1136 h 1136"/>
                <a:gd name="T30" fmla="*/ 105 w 874"/>
                <a:gd name="T31" fmla="*/ 720 h 1136"/>
                <a:gd name="T32" fmla="*/ 437 w 874"/>
                <a:gd name="T33" fmla="*/ 0 h 1136"/>
                <a:gd name="T34" fmla="*/ 250 w 874"/>
                <a:gd name="T35" fmla="*/ 605 h 1136"/>
                <a:gd name="T36" fmla="*/ 172 w 874"/>
                <a:gd name="T37" fmla="*/ 539 h 1136"/>
                <a:gd name="T38" fmla="*/ 157 w 874"/>
                <a:gd name="T39" fmla="*/ 378 h 1136"/>
                <a:gd name="T40" fmla="*/ 155 w 874"/>
                <a:gd name="T41" fmla="*/ 244 h 1136"/>
                <a:gd name="T42" fmla="*/ 115 w 874"/>
                <a:gd name="T43" fmla="*/ 364 h 1136"/>
                <a:gd name="T44" fmla="*/ 133 w 874"/>
                <a:gd name="T45" fmla="*/ 561 h 1136"/>
                <a:gd name="T46" fmla="*/ 183 w 874"/>
                <a:gd name="T47" fmla="*/ 672 h 1136"/>
                <a:gd name="T48" fmla="*/ 576 w 874"/>
                <a:gd name="T49" fmla="*/ 555 h 1136"/>
                <a:gd name="T50" fmla="*/ 667 w 874"/>
                <a:gd name="T51" fmla="*/ 409 h 1136"/>
                <a:gd name="T52" fmla="*/ 533 w 874"/>
                <a:gd name="T53" fmla="*/ 409 h 1136"/>
                <a:gd name="T54" fmla="*/ 548 w 874"/>
                <a:gd name="T55" fmla="*/ 520 h 1136"/>
                <a:gd name="T56" fmla="*/ 446 w 874"/>
                <a:gd name="T57" fmla="*/ 577 h 1136"/>
                <a:gd name="T58" fmla="*/ 580 w 874"/>
                <a:gd name="T59" fmla="*/ 577 h 1136"/>
                <a:gd name="T60" fmla="*/ 548 w 874"/>
                <a:gd name="T61" fmla="*/ 282 h 1136"/>
                <a:gd name="T62" fmla="*/ 423 w 874"/>
                <a:gd name="T63" fmla="*/ 250 h 1136"/>
                <a:gd name="T64" fmla="*/ 290 w 874"/>
                <a:gd name="T65" fmla="*/ 546 h 1136"/>
                <a:gd name="T66" fmla="*/ 351 w 874"/>
                <a:gd name="T67" fmla="*/ 639 h 1136"/>
                <a:gd name="T68" fmla="*/ 351 w 874"/>
                <a:gd name="T69" fmla="*/ 505 h 1136"/>
                <a:gd name="T70" fmla="*/ 296 w 874"/>
                <a:gd name="T71" fmla="*/ 434 h 1136"/>
                <a:gd name="T72" fmla="*/ 482 w 874"/>
                <a:gd name="T73" fmla="*/ 348 h 1136"/>
                <a:gd name="T74" fmla="*/ 770 w 874"/>
                <a:gd name="T75" fmla="*/ 588 h 1136"/>
                <a:gd name="T76" fmla="*/ 637 w 874"/>
                <a:gd name="T77" fmla="*/ 588 h 1136"/>
                <a:gd name="T78" fmla="*/ 437 w 874"/>
                <a:gd name="T79" fmla="*/ 719 h 1136"/>
                <a:gd name="T80" fmla="*/ 328 w 874"/>
                <a:gd name="T81" fmla="*/ 655 h 1136"/>
                <a:gd name="T82" fmla="*/ 328 w 874"/>
                <a:gd name="T83" fmla="*/ 788 h 1136"/>
                <a:gd name="T84" fmla="*/ 437 w 874"/>
                <a:gd name="T85" fmla="*/ 763 h 1136"/>
                <a:gd name="T86" fmla="*/ 703 w 874"/>
                <a:gd name="T87" fmla="*/ 655 h 1136"/>
                <a:gd name="T88" fmla="*/ 805 w 874"/>
                <a:gd name="T89" fmla="*/ 361 h 1136"/>
                <a:gd name="T90" fmla="*/ 736 w 874"/>
                <a:gd name="T91" fmla="*/ 295 h 1136"/>
                <a:gd name="T92" fmla="*/ 320 w 874"/>
                <a:gd name="T93" fmla="*/ 126 h 1136"/>
                <a:gd name="T94" fmla="*/ 207 w 874"/>
                <a:gd name="T95" fmla="*/ 174 h 1136"/>
                <a:gd name="T96" fmla="*/ 341 w 874"/>
                <a:gd name="T97" fmla="*/ 174 h 1136"/>
                <a:gd name="T98" fmla="*/ 437 w 874"/>
                <a:gd name="T99" fmla="*/ 148 h 1136"/>
                <a:gd name="T100" fmla="*/ 672 w 874"/>
                <a:gd name="T101" fmla="*/ 361 h 1136"/>
                <a:gd name="T102" fmla="*/ 805 w 874"/>
                <a:gd name="T103" fmla="*/ 361 h 1136"/>
                <a:gd name="T104" fmla="*/ 251 w 874"/>
                <a:gd name="T105" fmla="*/ 174 h 1136"/>
                <a:gd name="T106" fmla="*/ 297 w 874"/>
                <a:gd name="T107" fmla="*/ 174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74" h="1136">
                  <a:moveTo>
                    <a:pt x="504" y="282"/>
                  </a:moveTo>
                  <a:cubicBezTo>
                    <a:pt x="504" y="294"/>
                    <a:pt x="494" y="304"/>
                    <a:pt x="482" y="304"/>
                  </a:cubicBezTo>
                  <a:cubicBezTo>
                    <a:pt x="469" y="304"/>
                    <a:pt x="459" y="294"/>
                    <a:pt x="459" y="282"/>
                  </a:cubicBezTo>
                  <a:cubicBezTo>
                    <a:pt x="459" y="269"/>
                    <a:pt x="469" y="259"/>
                    <a:pt x="482" y="259"/>
                  </a:cubicBezTo>
                  <a:cubicBezTo>
                    <a:pt x="494" y="259"/>
                    <a:pt x="504" y="269"/>
                    <a:pt x="504" y="282"/>
                  </a:cubicBezTo>
                  <a:close/>
                  <a:moveTo>
                    <a:pt x="513" y="554"/>
                  </a:moveTo>
                  <a:cubicBezTo>
                    <a:pt x="501" y="554"/>
                    <a:pt x="490" y="564"/>
                    <a:pt x="490" y="577"/>
                  </a:cubicBezTo>
                  <a:cubicBezTo>
                    <a:pt x="490" y="589"/>
                    <a:pt x="501" y="599"/>
                    <a:pt x="513" y="599"/>
                  </a:cubicBezTo>
                  <a:cubicBezTo>
                    <a:pt x="526" y="599"/>
                    <a:pt x="536" y="589"/>
                    <a:pt x="536" y="577"/>
                  </a:cubicBezTo>
                  <a:cubicBezTo>
                    <a:pt x="536" y="564"/>
                    <a:pt x="526" y="554"/>
                    <a:pt x="513" y="554"/>
                  </a:cubicBezTo>
                  <a:close/>
                  <a:moveTo>
                    <a:pt x="183" y="582"/>
                  </a:moveTo>
                  <a:cubicBezTo>
                    <a:pt x="170" y="582"/>
                    <a:pt x="160" y="593"/>
                    <a:pt x="160" y="605"/>
                  </a:cubicBezTo>
                  <a:cubicBezTo>
                    <a:pt x="160" y="618"/>
                    <a:pt x="170" y="628"/>
                    <a:pt x="183" y="628"/>
                  </a:cubicBezTo>
                  <a:cubicBezTo>
                    <a:pt x="195" y="628"/>
                    <a:pt x="206" y="618"/>
                    <a:pt x="206" y="605"/>
                  </a:cubicBezTo>
                  <a:cubicBezTo>
                    <a:pt x="206" y="593"/>
                    <a:pt x="195" y="582"/>
                    <a:pt x="183" y="582"/>
                  </a:cubicBezTo>
                  <a:close/>
                  <a:moveTo>
                    <a:pt x="328" y="699"/>
                  </a:moveTo>
                  <a:cubicBezTo>
                    <a:pt x="316" y="699"/>
                    <a:pt x="306" y="709"/>
                    <a:pt x="306" y="722"/>
                  </a:cubicBezTo>
                  <a:cubicBezTo>
                    <a:pt x="306" y="734"/>
                    <a:pt x="316" y="744"/>
                    <a:pt x="328" y="744"/>
                  </a:cubicBezTo>
                  <a:cubicBezTo>
                    <a:pt x="341" y="744"/>
                    <a:pt x="351" y="734"/>
                    <a:pt x="351" y="722"/>
                  </a:cubicBezTo>
                  <a:cubicBezTo>
                    <a:pt x="351" y="709"/>
                    <a:pt x="341" y="699"/>
                    <a:pt x="328" y="699"/>
                  </a:cubicBezTo>
                  <a:close/>
                  <a:moveTo>
                    <a:pt x="739" y="338"/>
                  </a:moveTo>
                  <a:cubicBezTo>
                    <a:pt x="726" y="338"/>
                    <a:pt x="716" y="349"/>
                    <a:pt x="716" y="361"/>
                  </a:cubicBezTo>
                  <a:cubicBezTo>
                    <a:pt x="716" y="374"/>
                    <a:pt x="726" y="384"/>
                    <a:pt x="739" y="384"/>
                  </a:cubicBezTo>
                  <a:cubicBezTo>
                    <a:pt x="751" y="384"/>
                    <a:pt x="761" y="374"/>
                    <a:pt x="761" y="361"/>
                  </a:cubicBezTo>
                  <a:cubicBezTo>
                    <a:pt x="761" y="349"/>
                    <a:pt x="751" y="338"/>
                    <a:pt x="739" y="338"/>
                  </a:cubicBezTo>
                  <a:close/>
                  <a:moveTo>
                    <a:pt x="874" y="436"/>
                  </a:moveTo>
                  <a:cubicBezTo>
                    <a:pt x="874" y="540"/>
                    <a:pt x="837" y="641"/>
                    <a:pt x="769" y="720"/>
                  </a:cubicBezTo>
                  <a:cubicBezTo>
                    <a:pt x="747" y="741"/>
                    <a:pt x="611" y="880"/>
                    <a:pt x="611" y="1045"/>
                  </a:cubicBezTo>
                  <a:cubicBezTo>
                    <a:pt x="611" y="1136"/>
                    <a:pt x="611" y="1136"/>
                    <a:pt x="611" y="1136"/>
                  </a:cubicBezTo>
                  <a:cubicBezTo>
                    <a:pt x="263" y="1136"/>
                    <a:pt x="263" y="1136"/>
                    <a:pt x="263" y="1136"/>
                  </a:cubicBezTo>
                  <a:cubicBezTo>
                    <a:pt x="263" y="1045"/>
                    <a:pt x="263" y="1045"/>
                    <a:pt x="263" y="1045"/>
                  </a:cubicBezTo>
                  <a:cubicBezTo>
                    <a:pt x="263" y="880"/>
                    <a:pt x="127" y="741"/>
                    <a:pt x="105" y="720"/>
                  </a:cubicBezTo>
                  <a:cubicBezTo>
                    <a:pt x="37" y="641"/>
                    <a:pt x="0" y="540"/>
                    <a:pt x="0" y="436"/>
                  </a:cubicBezTo>
                  <a:cubicBezTo>
                    <a:pt x="0" y="195"/>
                    <a:pt x="196" y="0"/>
                    <a:pt x="437" y="0"/>
                  </a:cubicBezTo>
                  <a:cubicBezTo>
                    <a:pt x="678" y="0"/>
                    <a:pt x="874" y="195"/>
                    <a:pt x="874" y="436"/>
                  </a:cubicBezTo>
                  <a:close/>
                  <a:moveTo>
                    <a:pt x="250" y="605"/>
                  </a:moveTo>
                  <a:cubicBezTo>
                    <a:pt x="250" y="568"/>
                    <a:pt x="220" y="538"/>
                    <a:pt x="183" y="538"/>
                  </a:cubicBezTo>
                  <a:cubicBezTo>
                    <a:pt x="179" y="538"/>
                    <a:pt x="175" y="539"/>
                    <a:pt x="172" y="539"/>
                  </a:cubicBezTo>
                  <a:cubicBezTo>
                    <a:pt x="158" y="506"/>
                    <a:pt x="152" y="471"/>
                    <a:pt x="152" y="434"/>
                  </a:cubicBezTo>
                  <a:cubicBezTo>
                    <a:pt x="152" y="415"/>
                    <a:pt x="153" y="396"/>
                    <a:pt x="157" y="378"/>
                  </a:cubicBezTo>
                  <a:cubicBezTo>
                    <a:pt x="193" y="377"/>
                    <a:pt x="222" y="347"/>
                    <a:pt x="222" y="311"/>
                  </a:cubicBezTo>
                  <a:cubicBezTo>
                    <a:pt x="222" y="274"/>
                    <a:pt x="192" y="244"/>
                    <a:pt x="155" y="244"/>
                  </a:cubicBezTo>
                  <a:cubicBezTo>
                    <a:pt x="119" y="244"/>
                    <a:pt x="89" y="274"/>
                    <a:pt x="89" y="311"/>
                  </a:cubicBezTo>
                  <a:cubicBezTo>
                    <a:pt x="89" y="333"/>
                    <a:pt x="99" y="352"/>
                    <a:pt x="115" y="364"/>
                  </a:cubicBezTo>
                  <a:cubicBezTo>
                    <a:pt x="110" y="387"/>
                    <a:pt x="108" y="410"/>
                    <a:pt x="108" y="434"/>
                  </a:cubicBezTo>
                  <a:cubicBezTo>
                    <a:pt x="108" y="478"/>
                    <a:pt x="116" y="521"/>
                    <a:pt x="133" y="561"/>
                  </a:cubicBezTo>
                  <a:cubicBezTo>
                    <a:pt x="123" y="573"/>
                    <a:pt x="116" y="588"/>
                    <a:pt x="116" y="605"/>
                  </a:cubicBezTo>
                  <a:cubicBezTo>
                    <a:pt x="116" y="642"/>
                    <a:pt x="146" y="672"/>
                    <a:pt x="183" y="672"/>
                  </a:cubicBezTo>
                  <a:cubicBezTo>
                    <a:pt x="220" y="672"/>
                    <a:pt x="250" y="642"/>
                    <a:pt x="250" y="605"/>
                  </a:cubicBezTo>
                  <a:close/>
                  <a:moveTo>
                    <a:pt x="576" y="555"/>
                  </a:moveTo>
                  <a:cubicBezTo>
                    <a:pt x="597" y="532"/>
                    <a:pt x="611" y="503"/>
                    <a:pt x="618" y="473"/>
                  </a:cubicBezTo>
                  <a:cubicBezTo>
                    <a:pt x="646" y="465"/>
                    <a:pt x="667" y="439"/>
                    <a:pt x="667" y="409"/>
                  </a:cubicBezTo>
                  <a:cubicBezTo>
                    <a:pt x="667" y="372"/>
                    <a:pt x="637" y="342"/>
                    <a:pt x="600" y="342"/>
                  </a:cubicBezTo>
                  <a:cubicBezTo>
                    <a:pt x="563" y="342"/>
                    <a:pt x="533" y="372"/>
                    <a:pt x="533" y="409"/>
                  </a:cubicBezTo>
                  <a:cubicBezTo>
                    <a:pt x="533" y="436"/>
                    <a:pt x="550" y="459"/>
                    <a:pt x="573" y="470"/>
                  </a:cubicBezTo>
                  <a:cubicBezTo>
                    <a:pt x="568" y="488"/>
                    <a:pt x="560" y="505"/>
                    <a:pt x="548" y="520"/>
                  </a:cubicBezTo>
                  <a:cubicBezTo>
                    <a:pt x="538" y="514"/>
                    <a:pt x="526" y="510"/>
                    <a:pt x="513" y="510"/>
                  </a:cubicBezTo>
                  <a:cubicBezTo>
                    <a:pt x="476" y="510"/>
                    <a:pt x="446" y="540"/>
                    <a:pt x="446" y="577"/>
                  </a:cubicBezTo>
                  <a:cubicBezTo>
                    <a:pt x="446" y="613"/>
                    <a:pt x="476" y="643"/>
                    <a:pt x="513" y="643"/>
                  </a:cubicBezTo>
                  <a:cubicBezTo>
                    <a:pt x="550" y="643"/>
                    <a:pt x="580" y="613"/>
                    <a:pt x="580" y="577"/>
                  </a:cubicBezTo>
                  <a:cubicBezTo>
                    <a:pt x="580" y="569"/>
                    <a:pt x="579" y="562"/>
                    <a:pt x="576" y="555"/>
                  </a:cubicBezTo>
                  <a:close/>
                  <a:moveTo>
                    <a:pt x="548" y="282"/>
                  </a:moveTo>
                  <a:cubicBezTo>
                    <a:pt x="548" y="245"/>
                    <a:pt x="519" y="215"/>
                    <a:pt x="482" y="215"/>
                  </a:cubicBezTo>
                  <a:cubicBezTo>
                    <a:pt x="457" y="215"/>
                    <a:pt x="435" y="229"/>
                    <a:pt x="423" y="250"/>
                  </a:cubicBezTo>
                  <a:cubicBezTo>
                    <a:pt x="328" y="257"/>
                    <a:pt x="252" y="337"/>
                    <a:pt x="252" y="434"/>
                  </a:cubicBezTo>
                  <a:cubicBezTo>
                    <a:pt x="252" y="474"/>
                    <a:pt x="265" y="514"/>
                    <a:pt x="290" y="546"/>
                  </a:cubicBezTo>
                  <a:cubicBezTo>
                    <a:pt x="286" y="554"/>
                    <a:pt x="284" y="563"/>
                    <a:pt x="284" y="572"/>
                  </a:cubicBezTo>
                  <a:cubicBezTo>
                    <a:pt x="284" y="609"/>
                    <a:pt x="314" y="639"/>
                    <a:pt x="351" y="639"/>
                  </a:cubicBezTo>
                  <a:cubicBezTo>
                    <a:pt x="388" y="639"/>
                    <a:pt x="418" y="609"/>
                    <a:pt x="418" y="572"/>
                  </a:cubicBezTo>
                  <a:cubicBezTo>
                    <a:pt x="418" y="535"/>
                    <a:pt x="388" y="505"/>
                    <a:pt x="351" y="505"/>
                  </a:cubicBezTo>
                  <a:cubicBezTo>
                    <a:pt x="340" y="505"/>
                    <a:pt x="330" y="508"/>
                    <a:pt x="320" y="513"/>
                  </a:cubicBezTo>
                  <a:cubicBezTo>
                    <a:pt x="305" y="490"/>
                    <a:pt x="296" y="462"/>
                    <a:pt x="296" y="434"/>
                  </a:cubicBezTo>
                  <a:cubicBezTo>
                    <a:pt x="296" y="363"/>
                    <a:pt x="348" y="305"/>
                    <a:pt x="416" y="295"/>
                  </a:cubicBezTo>
                  <a:cubicBezTo>
                    <a:pt x="422" y="325"/>
                    <a:pt x="449" y="348"/>
                    <a:pt x="482" y="348"/>
                  </a:cubicBezTo>
                  <a:cubicBezTo>
                    <a:pt x="519" y="348"/>
                    <a:pt x="548" y="318"/>
                    <a:pt x="548" y="282"/>
                  </a:cubicBezTo>
                  <a:close/>
                  <a:moveTo>
                    <a:pt x="770" y="588"/>
                  </a:moveTo>
                  <a:cubicBezTo>
                    <a:pt x="770" y="551"/>
                    <a:pt x="740" y="521"/>
                    <a:pt x="703" y="521"/>
                  </a:cubicBezTo>
                  <a:cubicBezTo>
                    <a:pt x="667" y="521"/>
                    <a:pt x="637" y="551"/>
                    <a:pt x="637" y="588"/>
                  </a:cubicBezTo>
                  <a:cubicBezTo>
                    <a:pt x="637" y="602"/>
                    <a:pt x="641" y="615"/>
                    <a:pt x="648" y="626"/>
                  </a:cubicBezTo>
                  <a:cubicBezTo>
                    <a:pt x="594" y="685"/>
                    <a:pt x="518" y="719"/>
                    <a:pt x="437" y="719"/>
                  </a:cubicBezTo>
                  <a:cubicBezTo>
                    <a:pt x="423" y="719"/>
                    <a:pt x="409" y="718"/>
                    <a:pt x="395" y="716"/>
                  </a:cubicBezTo>
                  <a:cubicBezTo>
                    <a:pt x="392" y="682"/>
                    <a:pt x="363" y="655"/>
                    <a:pt x="328" y="655"/>
                  </a:cubicBezTo>
                  <a:cubicBezTo>
                    <a:pt x="292" y="655"/>
                    <a:pt x="262" y="685"/>
                    <a:pt x="262" y="722"/>
                  </a:cubicBezTo>
                  <a:cubicBezTo>
                    <a:pt x="262" y="759"/>
                    <a:pt x="292" y="788"/>
                    <a:pt x="328" y="788"/>
                  </a:cubicBezTo>
                  <a:cubicBezTo>
                    <a:pt x="351" y="788"/>
                    <a:pt x="372" y="777"/>
                    <a:pt x="384" y="759"/>
                  </a:cubicBezTo>
                  <a:cubicBezTo>
                    <a:pt x="401" y="762"/>
                    <a:pt x="419" y="763"/>
                    <a:pt x="437" y="763"/>
                  </a:cubicBezTo>
                  <a:cubicBezTo>
                    <a:pt x="532" y="763"/>
                    <a:pt x="622" y="723"/>
                    <a:pt x="684" y="652"/>
                  </a:cubicBezTo>
                  <a:cubicBezTo>
                    <a:pt x="690" y="654"/>
                    <a:pt x="697" y="655"/>
                    <a:pt x="703" y="655"/>
                  </a:cubicBezTo>
                  <a:cubicBezTo>
                    <a:pt x="740" y="655"/>
                    <a:pt x="770" y="625"/>
                    <a:pt x="770" y="588"/>
                  </a:cubicBezTo>
                  <a:close/>
                  <a:moveTo>
                    <a:pt x="805" y="361"/>
                  </a:moveTo>
                  <a:cubicBezTo>
                    <a:pt x="805" y="324"/>
                    <a:pt x="776" y="294"/>
                    <a:pt x="739" y="294"/>
                  </a:cubicBezTo>
                  <a:cubicBezTo>
                    <a:pt x="738" y="294"/>
                    <a:pt x="737" y="295"/>
                    <a:pt x="736" y="295"/>
                  </a:cubicBezTo>
                  <a:cubicBezTo>
                    <a:pt x="682" y="178"/>
                    <a:pt x="566" y="104"/>
                    <a:pt x="437" y="104"/>
                  </a:cubicBezTo>
                  <a:cubicBezTo>
                    <a:pt x="396" y="104"/>
                    <a:pt x="357" y="112"/>
                    <a:pt x="320" y="126"/>
                  </a:cubicBezTo>
                  <a:cubicBezTo>
                    <a:pt x="308" y="115"/>
                    <a:pt x="292" y="108"/>
                    <a:pt x="274" y="108"/>
                  </a:cubicBezTo>
                  <a:cubicBezTo>
                    <a:pt x="237" y="108"/>
                    <a:pt x="207" y="138"/>
                    <a:pt x="207" y="174"/>
                  </a:cubicBezTo>
                  <a:cubicBezTo>
                    <a:pt x="207" y="211"/>
                    <a:pt x="237" y="241"/>
                    <a:pt x="274" y="241"/>
                  </a:cubicBezTo>
                  <a:cubicBezTo>
                    <a:pt x="311" y="241"/>
                    <a:pt x="341" y="211"/>
                    <a:pt x="341" y="174"/>
                  </a:cubicBezTo>
                  <a:cubicBezTo>
                    <a:pt x="341" y="171"/>
                    <a:pt x="341" y="168"/>
                    <a:pt x="340" y="165"/>
                  </a:cubicBezTo>
                  <a:cubicBezTo>
                    <a:pt x="371" y="154"/>
                    <a:pt x="404" y="148"/>
                    <a:pt x="437" y="148"/>
                  </a:cubicBezTo>
                  <a:cubicBezTo>
                    <a:pt x="548" y="148"/>
                    <a:pt x="648" y="212"/>
                    <a:pt x="695" y="311"/>
                  </a:cubicBezTo>
                  <a:cubicBezTo>
                    <a:pt x="681" y="323"/>
                    <a:pt x="672" y="341"/>
                    <a:pt x="672" y="361"/>
                  </a:cubicBezTo>
                  <a:cubicBezTo>
                    <a:pt x="672" y="398"/>
                    <a:pt x="702" y="428"/>
                    <a:pt x="739" y="428"/>
                  </a:cubicBezTo>
                  <a:cubicBezTo>
                    <a:pt x="776" y="428"/>
                    <a:pt x="805" y="398"/>
                    <a:pt x="805" y="361"/>
                  </a:cubicBezTo>
                  <a:close/>
                  <a:moveTo>
                    <a:pt x="274" y="152"/>
                  </a:moveTo>
                  <a:cubicBezTo>
                    <a:pt x="262" y="152"/>
                    <a:pt x="251" y="162"/>
                    <a:pt x="251" y="174"/>
                  </a:cubicBezTo>
                  <a:cubicBezTo>
                    <a:pt x="251" y="187"/>
                    <a:pt x="262" y="197"/>
                    <a:pt x="274" y="197"/>
                  </a:cubicBezTo>
                  <a:cubicBezTo>
                    <a:pt x="287" y="197"/>
                    <a:pt x="297" y="187"/>
                    <a:pt x="297" y="174"/>
                  </a:cubicBezTo>
                  <a:cubicBezTo>
                    <a:pt x="297" y="162"/>
                    <a:pt x="287" y="152"/>
                    <a:pt x="274" y="15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 name="bcgIcons_TouchScreen">
            <a:extLst>
              <a:ext uri="{FF2B5EF4-FFF2-40B4-BE49-F238E27FC236}">
                <a16:creationId xmlns:a16="http://schemas.microsoft.com/office/drawing/2014/main" id="{A7DBEC0B-5FF0-4DD7-84FA-792E9BA616B0}"/>
              </a:ext>
            </a:extLst>
          </p:cNvPr>
          <p:cNvGrpSpPr>
            <a:grpSpLocks noChangeAspect="1"/>
          </p:cNvGrpSpPr>
          <p:nvPr/>
        </p:nvGrpSpPr>
        <p:grpSpPr bwMode="auto">
          <a:xfrm>
            <a:off x="1199456" y="2204994"/>
            <a:ext cx="2631929" cy="2294178"/>
            <a:chOff x="1931" y="765"/>
            <a:chExt cx="3756" cy="3274"/>
          </a:xfrm>
          <a:solidFill>
            <a:schemeClr val="accent2"/>
          </a:solidFill>
        </p:grpSpPr>
        <p:sp>
          <p:nvSpPr>
            <p:cNvPr id="13" name="Freeform 10">
              <a:extLst>
                <a:ext uri="{FF2B5EF4-FFF2-40B4-BE49-F238E27FC236}">
                  <a16:creationId xmlns:a16="http://schemas.microsoft.com/office/drawing/2014/main" id="{D738BB8D-A16F-4AC4-B26B-EFCC21403284}"/>
                </a:ext>
              </a:extLst>
            </p:cNvPr>
            <p:cNvSpPr>
              <a:spLocks noEditPoints="1"/>
            </p:cNvSpPr>
            <p:nvPr/>
          </p:nvSpPr>
          <p:spPr bwMode="auto">
            <a:xfrm>
              <a:off x="2231" y="1073"/>
              <a:ext cx="3456" cy="2966"/>
            </a:xfrm>
            <a:custGeom>
              <a:avLst/>
              <a:gdLst>
                <a:gd name="T0" fmla="*/ 1356 w 1845"/>
                <a:gd name="T1" fmla="*/ 0 h 1582"/>
                <a:gd name="T2" fmla="*/ 23 w 1845"/>
                <a:gd name="T3" fmla="*/ 0 h 1582"/>
                <a:gd name="T4" fmla="*/ 0 w 1845"/>
                <a:gd name="T5" fmla="*/ 20 h 1582"/>
                <a:gd name="T6" fmla="*/ 0 w 1845"/>
                <a:gd name="T7" fmla="*/ 830 h 1582"/>
                <a:gd name="T8" fmla="*/ 23 w 1845"/>
                <a:gd name="T9" fmla="*/ 850 h 1582"/>
                <a:gd name="T10" fmla="*/ 847 w 1845"/>
                <a:gd name="T11" fmla="*/ 850 h 1582"/>
                <a:gd name="T12" fmla="*/ 583 w 1845"/>
                <a:gd name="T13" fmla="*/ 424 h 1582"/>
                <a:gd name="T14" fmla="*/ 569 w 1845"/>
                <a:gd name="T15" fmla="*/ 340 h 1582"/>
                <a:gd name="T16" fmla="*/ 618 w 1845"/>
                <a:gd name="T17" fmla="*/ 271 h 1582"/>
                <a:gd name="T18" fmla="*/ 772 w 1845"/>
                <a:gd name="T19" fmla="*/ 307 h 1582"/>
                <a:gd name="T20" fmla="*/ 919 w 1845"/>
                <a:gd name="T21" fmla="*/ 544 h 1582"/>
                <a:gd name="T22" fmla="*/ 964 w 1845"/>
                <a:gd name="T23" fmla="*/ 489 h 1582"/>
                <a:gd name="T24" fmla="*/ 1049 w 1845"/>
                <a:gd name="T25" fmla="*/ 475 h 1582"/>
                <a:gd name="T26" fmla="*/ 1097 w 1845"/>
                <a:gd name="T27" fmla="*/ 500 h 1582"/>
                <a:gd name="T28" fmla="*/ 1144 w 1845"/>
                <a:gd name="T29" fmla="*/ 440 h 1582"/>
                <a:gd name="T30" fmla="*/ 1275 w 1845"/>
                <a:gd name="T31" fmla="*/ 449 h 1582"/>
                <a:gd name="T32" fmla="*/ 1322 w 1845"/>
                <a:gd name="T33" fmla="*/ 388 h 1582"/>
                <a:gd name="T34" fmla="*/ 1378 w 1845"/>
                <a:gd name="T35" fmla="*/ 371 h 1582"/>
                <a:gd name="T36" fmla="*/ 1378 w 1845"/>
                <a:gd name="T37" fmla="*/ 20 h 1582"/>
                <a:gd name="T38" fmla="*/ 1356 w 1845"/>
                <a:gd name="T39" fmla="*/ 0 h 1582"/>
                <a:gd name="T40" fmla="*/ 859 w 1845"/>
                <a:gd name="T41" fmla="*/ 375 h 1582"/>
                <a:gd name="T42" fmla="*/ 804 w 1845"/>
                <a:gd name="T43" fmla="*/ 287 h 1582"/>
                <a:gd name="T44" fmla="*/ 598 w 1845"/>
                <a:gd name="T45" fmla="*/ 239 h 1582"/>
                <a:gd name="T46" fmla="*/ 550 w 1845"/>
                <a:gd name="T47" fmla="*/ 445 h 1582"/>
                <a:gd name="T48" fmla="*/ 607 w 1845"/>
                <a:gd name="T49" fmla="*/ 535 h 1582"/>
                <a:gd name="T50" fmla="*/ 474 w 1845"/>
                <a:gd name="T51" fmla="*/ 449 h 1582"/>
                <a:gd name="T52" fmla="*/ 525 w 1845"/>
                <a:gd name="T53" fmla="*/ 149 h 1582"/>
                <a:gd name="T54" fmla="*/ 825 w 1845"/>
                <a:gd name="T55" fmla="*/ 200 h 1582"/>
                <a:gd name="T56" fmla="*/ 859 w 1845"/>
                <a:gd name="T57" fmla="*/ 375 h 1582"/>
                <a:gd name="T58" fmla="*/ 1840 w 1845"/>
                <a:gd name="T59" fmla="*/ 1239 h 1582"/>
                <a:gd name="T60" fmla="*/ 1833 w 1845"/>
                <a:gd name="T61" fmla="*/ 1267 h 1582"/>
                <a:gd name="T62" fmla="*/ 1336 w 1845"/>
                <a:gd name="T63" fmla="*/ 1576 h 1582"/>
                <a:gd name="T64" fmla="*/ 1308 w 1845"/>
                <a:gd name="T65" fmla="*/ 1570 h 1582"/>
                <a:gd name="T66" fmla="*/ 1153 w 1845"/>
                <a:gd name="T67" fmla="*/ 1321 h 1582"/>
                <a:gd name="T68" fmla="*/ 1160 w 1845"/>
                <a:gd name="T69" fmla="*/ 1294 h 1582"/>
                <a:gd name="T70" fmla="*/ 1657 w 1845"/>
                <a:gd name="T71" fmla="*/ 984 h 1582"/>
                <a:gd name="T72" fmla="*/ 1685 w 1845"/>
                <a:gd name="T73" fmla="*/ 991 h 1582"/>
                <a:gd name="T74" fmla="*/ 1840 w 1845"/>
                <a:gd name="T75" fmla="*/ 1239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45" h="1582">
                  <a:moveTo>
                    <a:pt x="1356" y="0"/>
                  </a:moveTo>
                  <a:cubicBezTo>
                    <a:pt x="23" y="0"/>
                    <a:pt x="23" y="0"/>
                    <a:pt x="23" y="0"/>
                  </a:cubicBezTo>
                  <a:cubicBezTo>
                    <a:pt x="10" y="0"/>
                    <a:pt x="0" y="9"/>
                    <a:pt x="0" y="20"/>
                  </a:cubicBezTo>
                  <a:cubicBezTo>
                    <a:pt x="0" y="830"/>
                    <a:pt x="0" y="830"/>
                    <a:pt x="0" y="830"/>
                  </a:cubicBezTo>
                  <a:cubicBezTo>
                    <a:pt x="0" y="841"/>
                    <a:pt x="10" y="850"/>
                    <a:pt x="23" y="850"/>
                  </a:cubicBezTo>
                  <a:cubicBezTo>
                    <a:pt x="847" y="850"/>
                    <a:pt x="847" y="850"/>
                    <a:pt x="847" y="850"/>
                  </a:cubicBezTo>
                  <a:cubicBezTo>
                    <a:pt x="583" y="424"/>
                    <a:pt x="583" y="424"/>
                    <a:pt x="583" y="424"/>
                  </a:cubicBezTo>
                  <a:cubicBezTo>
                    <a:pt x="567" y="399"/>
                    <a:pt x="562" y="369"/>
                    <a:pt x="569" y="340"/>
                  </a:cubicBezTo>
                  <a:cubicBezTo>
                    <a:pt x="575" y="311"/>
                    <a:pt x="593" y="287"/>
                    <a:pt x="618" y="271"/>
                  </a:cubicBezTo>
                  <a:cubicBezTo>
                    <a:pt x="670" y="239"/>
                    <a:pt x="739" y="255"/>
                    <a:pt x="772" y="307"/>
                  </a:cubicBezTo>
                  <a:cubicBezTo>
                    <a:pt x="919" y="544"/>
                    <a:pt x="919" y="544"/>
                    <a:pt x="919" y="544"/>
                  </a:cubicBezTo>
                  <a:cubicBezTo>
                    <a:pt x="928" y="521"/>
                    <a:pt x="944" y="502"/>
                    <a:pt x="964" y="489"/>
                  </a:cubicBezTo>
                  <a:cubicBezTo>
                    <a:pt x="990" y="474"/>
                    <a:pt x="1020" y="469"/>
                    <a:pt x="1049" y="475"/>
                  </a:cubicBezTo>
                  <a:cubicBezTo>
                    <a:pt x="1067" y="480"/>
                    <a:pt x="1083" y="488"/>
                    <a:pt x="1097" y="500"/>
                  </a:cubicBezTo>
                  <a:cubicBezTo>
                    <a:pt x="1105" y="476"/>
                    <a:pt x="1121" y="454"/>
                    <a:pt x="1144" y="440"/>
                  </a:cubicBezTo>
                  <a:cubicBezTo>
                    <a:pt x="1186" y="414"/>
                    <a:pt x="1239" y="419"/>
                    <a:pt x="1275" y="449"/>
                  </a:cubicBezTo>
                  <a:cubicBezTo>
                    <a:pt x="1282" y="424"/>
                    <a:pt x="1298" y="402"/>
                    <a:pt x="1322" y="388"/>
                  </a:cubicBezTo>
                  <a:cubicBezTo>
                    <a:pt x="1339" y="377"/>
                    <a:pt x="1359" y="371"/>
                    <a:pt x="1378" y="371"/>
                  </a:cubicBezTo>
                  <a:cubicBezTo>
                    <a:pt x="1378" y="20"/>
                    <a:pt x="1378" y="20"/>
                    <a:pt x="1378" y="20"/>
                  </a:cubicBezTo>
                  <a:cubicBezTo>
                    <a:pt x="1378" y="9"/>
                    <a:pt x="1368" y="0"/>
                    <a:pt x="1356" y="0"/>
                  </a:cubicBezTo>
                  <a:close/>
                  <a:moveTo>
                    <a:pt x="859" y="375"/>
                  </a:moveTo>
                  <a:cubicBezTo>
                    <a:pt x="804" y="287"/>
                    <a:pt x="804" y="287"/>
                    <a:pt x="804" y="287"/>
                  </a:cubicBezTo>
                  <a:cubicBezTo>
                    <a:pt x="761" y="217"/>
                    <a:pt x="668" y="195"/>
                    <a:pt x="598" y="239"/>
                  </a:cubicBezTo>
                  <a:cubicBezTo>
                    <a:pt x="528" y="282"/>
                    <a:pt x="507" y="375"/>
                    <a:pt x="550" y="445"/>
                  </a:cubicBezTo>
                  <a:cubicBezTo>
                    <a:pt x="607" y="535"/>
                    <a:pt x="607" y="535"/>
                    <a:pt x="607" y="535"/>
                  </a:cubicBezTo>
                  <a:cubicBezTo>
                    <a:pt x="555" y="525"/>
                    <a:pt x="507" y="496"/>
                    <a:pt x="474" y="449"/>
                  </a:cubicBezTo>
                  <a:cubicBezTo>
                    <a:pt x="405" y="352"/>
                    <a:pt x="428" y="218"/>
                    <a:pt x="525" y="149"/>
                  </a:cubicBezTo>
                  <a:cubicBezTo>
                    <a:pt x="622" y="80"/>
                    <a:pt x="756" y="103"/>
                    <a:pt x="825" y="200"/>
                  </a:cubicBezTo>
                  <a:cubicBezTo>
                    <a:pt x="863" y="253"/>
                    <a:pt x="873" y="316"/>
                    <a:pt x="859" y="375"/>
                  </a:cubicBezTo>
                  <a:close/>
                  <a:moveTo>
                    <a:pt x="1840" y="1239"/>
                  </a:moveTo>
                  <a:cubicBezTo>
                    <a:pt x="1845" y="1249"/>
                    <a:pt x="1842" y="1261"/>
                    <a:pt x="1833" y="1267"/>
                  </a:cubicBezTo>
                  <a:cubicBezTo>
                    <a:pt x="1336" y="1576"/>
                    <a:pt x="1336" y="1576"/>
                    <a:pt x="1336" y="1576"/>
                  </a:cubicBezTo>
                  <a:cubicBezTo>
                    <a:pt x="1326" y="1582"/>
                    <a:pt x="1314" y="1579"/>
                    <a:pt x="1308" y="1570"/>
                  </a:cubicBezTo>
                  <a:cubicBezTo>
                    <a:pt x="1153" y="1321"/>
                    <a:pt x="1153" y="1321"/>
                    <a:pt x="1153" y="1321"/>
                  </a:cubicBezTo>
                  <a:cubicBezTo>
                    <a:pt x="1147" y="1312"/>
                    <a:pt x="1150" y="1299"/>
                    <a:pt x="1160" y="1294"/>
                  </a:cubicBezTo>
                  <a:cubicBezTo>
                    <a:pt x="1657" y="984"/>
                    <a:pt x="1657" y="984"/>
                    <a:pt x="1657" y="984"/>
                  </a:cubicBezTo>
                  <a:cubicBezTo>
                    <a:pt x="1667" y="978"/>
                    <a:pt x="1679" y="981"/>
                    <a:pt x="1685" y="991"/>
                  </a:cubicBezTo>
                  <a:lnTo>
                    <a:pt x="1840" y="123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11">
              <a:extLst>
                <a:ext uri="{FF2B5EF4-FFF2-40B4-BE49-F238E27FC236}">
                  <a16:creationId xmlns:a16="http://schemas.microsoft.com/office/drawing/2014/main" id="{FCE480C1-F00A-4238-BEC7-FB00C95552F6}"/>
                </a:ext>
              </a:extLst>
            </p:cNvPr>
            <p:cNvSpPr>
              <a:spLocks noEditPoints="1"/>
            </p:cNvSpPr>
            <p:nvPr/>
          </p:nvSpPr>
          <p:spPr bwMode="auto">
            <a:xfrm>
              <a:off x="1931" y="765"/>
              <a:ext cx="3498" cy="2775"/>
            </a:xfrm>
            <a:custGeom>
              <a:avLst/>
              <a:gdLst>
                <a:gd name="T0" fmla="*/ 878 w 1867"/>
                <a:gd name="T1" fmla="*/ 1205 h 1480"/>
                <a:gd name="T2" fmla="*/ 936 w 1867"/>
                <a:gd name="T3" fmla="*/ 1087 h 1480"/>
                <a:gd name="T4" fmla="*/ 1126 w 1867"/>
                <a:gd name="T5" fmla="*/ 1151 h 1480"/>
                <a:gd name="T6" fmla="*/ 780 w 1867"/>
                <a:gd name="T7" fmla="*/ 565 h 1480"/>
                <a:gd name="T8" fmla="*/ 802 w 1867"/>
                <a:gd name="T9" fmla="*/ 472 h 1480"/>
                <a:gd name="T10" fmla="*/ 1143 w 1867"/>
                <a:gd name="T11" fmla="*/ 893 h 1480"/>
                <a:gd name="T12" fmla="*/ 1148 w 1867"/>
                <a:gd name="T13" fmla="*/ 902 h 1480"/>
                <a:gd name="T14" fmla="*/ 1178 w 1867"/>
                <a:gd name="T15" fmla="*/ 909 h 1480"/>
                <a:gd name="T16" fmla="*/ 1180 w 1867"/>
                <a:gd name="T17" fmla="*/ 870 h 1480"/>
                <a:gd name="T18" fmla="*/ 1126 w 1867"/>
                <a:gd name="T19" fmla="*/ 783 h 1480"/>
                <a:gd name="T20" fmla="*/ 1148 w 1867"/>
                <a:gd name="T21" fmla="*/ 691 h 1480"/>
                <a:gd name="T22" fmla="*/ 1295 w 1867"/>
                <a:gd name="T23" fmla="*/ 800 h 1480"/>
                <a:gd name="T24" fmla="*/ 1308 w 1867"/>
                <a:gd name="T25" fmla="*/ 821 h 1480"/>
                <a:gd name="T26" fmla="*/ 1339 w 1867"/>
                <a:gd name="T27" fmla="*/ 828 h 1480"/>
                <a:gd name="T28" fmla="*/ 1308 w 1867"/>
                <a:gd name="T29" fmla="*/ 738 h 1480"/>
                <a:gd name="T30" fmla="*/ 1297 w 1867"/>
                <a:gd name="T31" fmla="*/ 683 h 1480"/>
                <a:gd name="T32" fmla="*/ 1420 w 1867"/>
                <a:gd name="T33" fmla="*/ 663 h 1480"/>
                <a:gd name="T34" fmla="*/ 1458 w 1867"/>
                <a:gd name="T35" fmla="*/ 724 h 1480"/>
                <a:gd name="T36" fmla="*/ 1503 w 1867"/>
                <a:gd name="T37" fmla="*/ 755 h 1480"/>
                <a:gd name="T38" fmla="*/ 1484 w 1867"/>
                <a:gd name="T39" fmla="*/ 682 h 1480"/>
                <a:gd name="T40" fmla="*/ 1505 w 1867"/>
                <a:gd name="T41" fmla="*/ 589 h 1480"/>
                <a:gd name="T42" fmla="*/ 1764 w 1867"/>
                <a:gd name="T43" fmla="*/ 877 h 1480"/>
                <a:gd name="T44" fmla="*/ 1857 w 1867"/>
                <a:gd name="T45" fmla="*/ 1113 h 1480"/>
                <a:gd name="T46" fmla="*/ 1698 w 1867"/>
                <a:gd name="T47" fmla="*/ 688 h 1480"/>
                <a:gd name="T48" fmla="*/ 1654 w 1867"/>
                <a:gd name="T49" fmla="*/ 0 h 1480"/>
                <a:gd name="T50" fmla="*/ 0 w 1867"/>
                <a:gd name="T51" fmla="*/ 44 h 1480"/>
                <a:gd name="T52" fmla="*/ 44 w 1867"/>
                <a:gd name="T53" fmla="*/ 1178 h 1480"/>
                <a:gd name="T54" fmla="*/ 856 w 1867"/>
                <a:gd name="T55" fmla="*/ 1243 h 1480"/>
                <a:gd name="T56" fmla="*/ 1284 w 1867"/>
                <a:gd name="T57" fmla="*/ 1437 h 1480"/>
                <a:gd name="T58" fmla="*/ 802 w 1867"/>
                <a:gd name="T59" fmla="*/ 1130 h 1480"/>
                <a:gd name="T60" fmla="*/ 48 w 1867"/>
                <a:gd name="T61" fmla="*/ 48 h 1480"/>
                <a:gd name="T62" fmla="*/ 1650 w 1867"/>
                <a:gd name="T63" fmla="*/ 611 h 1480"/>
                <a:gd name="T64" fmla="*/ 1482 w 1867"/>
                <a:gd name="T65" fmla="*/ 552 h 1480"/>
                <a:gd name="T66" fmla="*/ 1304 w 1867"/>
                <a:gd name="T67" fmla="*/ 604 h 1480"/>
                <a:gd name="T68" fmla="*/ 1209 w 1867"/>
                <a:gd name="T69" fmla="*/ 639 h 1480"/>
                <a:gd name="T70" fmla="*/ 1079 w 1867"/>
                <a:gd name="T71" fmla="*/ 708 h 1480"/>
                <a:gd name="T72" fmla="*/ 778 w 1867"/>
                <a:gd name="T73" fmla="*/ 435 h 1480"/>
                <a:gd name="T74" fmla="*/ 743 w 1867"/>
                <a:gd name="T75" fmla="*/ 588 h 1480"/>
                <a:gd name="T76" fmla="*/ 953 w 1867"/>
                <a:gd name="T77" fmla="*/ 1047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67" h="1480">
                  <a:moveTo>
                    <a:pt x="1284" y="1437"/>
                  </a:moveTo>
                  <a:cubicBezTo>
                    <a:pt x="878" y="1205"/>
                    <a:pt x="878" y="1205"/>
                    <a:pt x="878" y="1205"/>
                  </a:cubicBezTo>
                  <a:cubicBezTo>
                    <a:pt x="847" y="1187"/>
                    <a:pt x="836" y="1149"/>
                    <a:pt x="852" y="1118"/>
                  </a:cubicBezTo>
                  <a:cubicBezTo>
                    <a:pt x="867" y="1087"/>
                    <a:pt x="904" y="1074"/>
                    <a:pt x="936" y="1087"/>
                  </a:cubicBezTo>
                  <a:cubicBezTo>
                    <a:pt x="1101" y="1157"/>
                    <a:pt x="1101" y="1157"/>
                    <a:pt x="1101" y="1157"/>
                  </a:cubicBezTo>
                  <a:cubicBezTo>
                    <a:pt x="1110" y="1161"/>
                    <a:pt x="1120" y="1159"/>
                    <a:pt x="1126" y="1151"/>
                  </a:cubicBezTo>
                  <a:cubicBezTo>
                    <a:pt x="1133" y="1144"/>
                    <a:pt x="1133" y="1133"/>
                    <a:pt x="1128" y="1125"/>
                  </a:cubicBezTo>
                  <a:cubicBezTo>
                    <a:pt x="780" y="565"/>
                    <a:pt x="780" y="565"/>
                    <a:pt x="780" y="565"/>
                  </a:cubicBezTo>
                  <a:cubicBezTo>
                    <a:pt x="770" y="550"/>
                    <a:pt x="767" y="532"/>
                    <a:pt x="772" y="514"/>
                  </a:cubicBezTo>
                  <a:cubicBezTo>
                    <a:pt x="776" y="497"/>
                    <a:pt x="786" y="482"/>
                    <a:pt x="802" y="472"/>
                  </a:cubicBezTo>
                  <a:cubicBezTo>
                    <a:pt x="833" y="453"/>
                    <a:pt x="875" y="462"/>
                    <a:pt x="894" y="494"/>
                  </a:cubicBezTo>
                  <a:cubicBezTo>
                    <a:pt x="1143" y="893"/>
                    <a:pt x="1143" y="893"/>
                    <a:pt x="1143" y="893"/>
                  </a:cubicBezTo>
                  <a:cubicBezTo>
                    <a:pt x="1143" y="893"/>
                    <a:pt x="1143" y="893"/>
                    <a:pt x="1143" y="893"/>
                  </a:cubicBezTo>
                  <a:cubicBezTo>
                    <a:pt x="1148" y="902"/>
                    <a:pt x="1148" y="902"/>
                    <a:pt x="1148" y="902"/>
                  </a:cubicBezTo>
                  <a:cubicBezTo>
                    <a:pt x="1152" y="909"/>
                    <a:pt x="1159" y="912"/>
                    <a:pt x="1167" y="912"/>
                  </a:cubicBezTo>
                  <a:cubicBezTo>
                    <a:pt x="1171" y="912"/>
                    <a:pt x="1175" y="911"/>
                    <a:pt x="1178" y="909"/>
                  </a:cubicBezTo>
                  <a:cubicBezTo>
                    <a:pt x="1189" y="903"/>
                    <a:pt x="1192" y="889"/>
                    <a:pt x="1185" y="879"/>
                  </a:cubicBezTo>
                  <a:cubicBezTo>
                    <a:pt x="1180" y="870"/>
                    <a:pt x="1180" y="870"/>
                    <a:pt x="1180" y="870"/>
                  </a:cubicBezTo>
                  <a:cubicBezTo>
                    <a:pt x="1180" y="870"/>
                    <a:pt x="1180" y="870"/>
                    <a:pt x="1180" y="870"/>
                  </a:cubicBezTo>
                  <a:cubicBezTo>
                    <a:pt x="1126" y="783"/>
                    <a:pt x="1126" y="783"/>
                    <a:pt x="1126" y="783"/>
                  </a:cubicBezTo>
                  <a:cubicBezTo>
                    <a:pt x="1117" y="768"/>
                    <a:pt x="1114" y="750"/>
                    <a:pt x="1118" y="733"/>
                  </a:cubicBezTo>
                  <a:cubicBezTo>
                    <a:pt x="1122" y="715"/>
                    <a:pt x="1132" y="700"/>
                    <a:pt x="1148" y="691"/>
                  </a:cubicBezTo>
                  <a:cubicBezTo>
                    <a:pt x="1179" y="671"/>
                    <a:pt x="1221" y="681"/>
                    <a:pt x="1240" y="712"/>
                  </a:cubicBezTo>
                  <a:cubicBezTo>
                    <a:pt x="1295" y="800"/>
                    <a:pt x="1295" y="800"/>
                    <a:pt x="1295" y="800"/>
                  </a:cubicBezTo>
                  <a:cubicBezTo>
                    <a:pt x="1295" y="800"/>
                    <a:pt x="1295" y="800"/>
                    <a:pt x="1295" y="800"/>
                  </a:cubicBezTo>
                  <a:cubicBezTo>
                    <a:pt x="1308" y="821"/>
                    <a:pt x="1308" y="821"/>
                    <a:pt x="1308" y="821"/>
                  </a:cubicBezTo>
                  <a:cubicBezTo>
                    <a:pt x="1312" y="828"/>
                    <a:pt x="1320" y="832"/>
                    <a:pt x="1327" y="832"/>
                  </a:cubicBezTo>
                  <a:cubicBezTo>
                    <a:pt x="1331" y="832"/>
                    <a:pt x="1335" y="831"/>
                    <a:pt x="1339" y="828"/>
                  </a:cubicBezTo>
                  <a:cubicBezTo>
                    <a:pt x="1349" y="822"/>
                    <a:pt x="1352" y="808"/>
                    <a:pt x="1346" y="798"/>
                  </a:cubicBezTo>
                  <a:cubicBezTo>
                    <a:pt x="1308" y="738"/>
                    <a:pt x="1308" y="738"/>
                    <a:pt x="1308" y="738"/>
                  </a:cubicBezTo>
                  <a:cubicBezTo>
                    <a:pt x="1306" y="734"/>
                    <a:pt x="1306" y="734"/>
                    <a:pt x="1306" y="734"/>
                  </a:cubicBezTo>
                  <a:cubicBezTo>
                    <a:pt x="1296" y="718"/>
                    <a:pt x="1293" y="700"/>
                    <a:pt x="1297" y="683"/>
                  </a:cubicBezTo>
                  <a:cubicBezTo>
                    <a:pt x="1301" y="665"/>
                    <a:pt x="1312" y="651"/>
                    <a:pt x="1327" y="641"/>
                  </a:cubicBezTo>
                  <a:cubicBezTo>
                    <a:pt x="1359" y="621"/>
                    <a:pt x="1400" y="631"/>
                    <a:pt x="1420" y="663"/>
                  </a:cubicBezTo>
                  <a:cubicBezTo>
                    <a:pt x="1458" y="724"/>
                    <a:pt x="1458" y="724"/>
                    <a:pt x="1458" y="724"/>
                  </a:cubicBezTo>
                  <a:cubicBezTo>
                    <a:pt x="1458" y="724"/>
                    <a:pt x="1458" y="724"/>
                    <a:pt x="1458" y="724"/>
                  </a:cubicBezTo>
                  <a:cubicBezTo>
                    <a:pt x="1473" y="748"/>
                    <a:pt x="1473" y="748"/>
                    <a:pt x="1473" y="748"/>
                  </a:cubicBezTo>
                  <a:cubicBezTo>
                    <a:pt x="1479" y="758"/>
                    <a:pt x="1493" y="761"/>
                    <a:pt x="1503" y="755"/>
                  </a:cubicBezTo>
                  <a:cubicBezTo>
                    <a:pt x="1513" y="748"/>
                    <a:pt x="1517" y="735"/>
                    <a:pt x="1510" y="724"/>
                  </a:cubicBezTo>
                  <a:cubicBezTo>
                    <a:pt x="1484" y="682"/>
                    <a:pt x="1484" y="682"/>
                    <a:pt x="1484" y="682"/>
                  </a:cubicBezTo>
                  <a:cubicBezTo>
                    <a:pt x="1474" y="666"/>
                    <a:pt x="1471" y="648"/>
                    <a:pt x="1475" y="631"/>
                  </a:cubicBezTo>
                  <a:cubicBezTo>
                    <a:pt x="1479" y="613"/>
                    <a:pt x="1490" y="598"/>
                    <a:pt x="1505" y="589"/>
                  </a:cubicBezTo>
                  <a:cubicBezTo>
                    <a:pt x="1537" y="569"/>
                    <a:pt x="1578" y="579"/>
                    <a:pt x="1598" y="611"/>
                  </a:cubicBezTo>
                  <a:cubicBezTo>
                    <a:pt x="1764" y="877"/>
                    <a:pt x="1764" y="877"/>
                    <a:pt x="1764" y="877"/>
                  </a:cubicBezTo>
                  <a:cubicBezTo>
                    <a:pt x="1780" y="903"/>
                    <a:pt x="1826" y="977"/>
                    <a:pt x="1813" y="1107"/>
                  </a:cubicBezTo>
                  <a:cubicBezTo>
                    <a:pt x="1828" y="1103"/>
                    <a:pt x="1844" y="1105"/>
                    <a:pt x="1857" y="1113"/>
                  </a:cubicBezTo>
                  <a:cubicBezTo>
                    <a:pt x="1867" y="1015"/>
                    <a:pt x="1849" y="930"/>
                    <a:pt x="1801" y="854"/>
                  </a:cubicBezTo>
                  <a:cubicBezTo>
                    <a:pt x="1698" y="688"/>
                    <a:pt x="1698" y="688"/>
                    <a:pt x="1698" y="688"/>
                  </a:cubicBezTo>
                  <a:cubicBezTo>
                    <a:pt x="1698" y="44"/>
                    <a:pt x="1698" y="44"/>
                    <a:pt x="1698" y="44"/>
                  </a:cubicBezTo>
                  <a:cubicBezTo>
                    <a:pt x="1698" y="20"/>
                    <a:pt x="1678" y="0"/>
                    <a:pt x="1654" y="0"/>
                  </a:cubicBezTo>
                  <a:cubicBezTo>
                    <a:pt x="44" y="0"/>
                    <a:pt x="44" y="0"/>
                    <a:pt x="44" y="0"/>
                  </a:cubicBezTo>
                  <a:cubicBezTo>
                    <a:pt x="20" y="0"/>
                    <a:pt x="0" y="20"/>
                    <a:pt x="0" y="44"/>
                  </a:cubicBezTo>
                  <a:cubicBezTo>
                    <a:pt x="0" y="1134"/>
                    <a:pt x="0" y="1134"/>
                    <a:pt x="0" y="1134"/>
                  </a:cubicBezTo>
                  <a:cubicBezTo>
                    <a:pt x="0" y="1158"/>
                    <a:pt x="20" y="1178"/>
                    <a:pt x="44" y="1178"/>
                  </a:cubicBezTo>
                  <a:cubicBezTo>
                    <a:pt x="805" y="1178"/>
                    <a:pt x="805" y="1178"/>
                    <a:pt x="805" y="1178"/>
                  </a:cubicBezTo>
                  <a:cubicBezTo>
                    <a:pt x="812" y="1205"/>
                    <a:pt x="830" y="1228"/>
                    <a:pt x="856" y="1243"/>
                  </a:cubicBezTo>
                  <a:cubicBezTo>
                    <a:pt x="1270" y="1480"/>
                    <a:pt x="1270" y="1480"/>
                    <a:pt x="1270" y="1480"/>
                  </a:cubicBezTo>
                  <a:cubicBezTo>
                    <a:pt x="1269" y="1465"/>
                    <a:pt x="1274" y="1449"/>
                    <a:pt x="1284" y="1437"/>
                  </a:cubicBezTo>
                  <a:close/>
                  <a:moveTo>
                    <a:pt x="812" y="1098"/>
                  </a:moveTo>
                  <a:cubicBezTo>
                    <a:pt x="807" y="1109"/>
                    <a:pt x="804" y="1119"/>
                    <a:pt x="802" y="1130"/>
                  </a:cubicBezTo>
                  <a:cubicBezTo>
                    <a:pt x="48" y="1130"/>
                    <a:pt x="48" y="1130"/>
                    <a:pt x="48" y="1130"/>
                  </a:cubicBezTo>
                  <a:cubicBezTo>
                    <a:pt x="48" y="48"/>
                    <a:pt x="48" y="48"/>
                    <a:pt x="48" y="48"/>
                  </a:cubicBezTo>
                  <a:cubicBezTo>
                    <a:pt x="1650" y="48"/>
                    <a:pt x="1650" y="48"/>
                    <a:pt x="1650" y="48"/>
                  </a:cubicBezTo>
                  <a:cubicBezTo>
                    <a:pt x="1650" y="611"/>
                    <a:pt x="1650" y="611"/>
                    <a:pt x="1650" y="611"/>
                  </a:cubicBezTo>
                  <a:cubicBezTo>
                    <a:pt x="1635" y="587"/>
                    <a:pt x="1635" y="587"/>
                    <a:pt x="1635" y="587"/>
                  </a:cubicBezTo>
                  <a:cubicBezTo>
                    <a:pt x="1603" y="535"/>
                    <a:pt x="1534" y="519"/>
                    <a:pt x="1482" y="552"/>
                  </a:cubicBezTo>
                  <a:cubicBezTo>
                    <a:pt x="1458" y="566"/>
                    <a:pt x="1442" y="588"/>
                    <a:pt x="1435" y="613"/>
                  </a:cubicBezTo>
                  <a:cubicBezTo>
                    <a:pt x="1399" y="583"/>
                    <a:pt x="1346" y="578"/>
                    <a:pt x="1304" y="604"/>
                  </a:cubicBezTo>
                  <a:cubicBezTo>
                    <a:pt x="1281" y="618"/>
                    <a:pt x="1265" y="640"/>
                    <a:pt x="1257" y="664"/>
                  </a:cubicBezTo>
                  <a:cubicBezTo>
                    <a:pt x="1243" y="652"/>
                    <a:pt x="1227" y="644"/>
                    <a:pt x="1209" y="639"/>
                  </a:cubicBezTo>
                  <a:cubicBezTo>
                    <a:pt x="1180" y="633"/>
                    <a:pt x="1150" y="638"/>
                    <a:pt x="1124" y="653"/>
                  </a:cubicBezTo>
                  <a:cubicBezTo>
                    <a:pt x="1104" y="666"/>
                    <a:pt x="1088" y="685"/>
                    <a:pt x="1079" y="708"/>
                  </a:cubicBezTo>
                  <a:cubicBezTo>
                    <a:pt x="932" y="471"/>
                    <a:pt x="932" y="471"/>
                    <a:pt x="932" y="471"/>
                  </a:cubicBezTo>
                  <a:cubicBezTo>
                    <a:pt x="899" y="419"/>
                    <a:pt x="830" y="403"/>
                    <a:pt x="778" y="435"/>
                  </a:cubicBezTo>
                  <a:cubicBezTo>
                    <a:pt x="753" y="451"/>
                    <a:pt x="735" y="475"/>
                    <a:pt x="729" y="504"/>
                  </a:cubicBezTo>
                  <a:cubicBezTo>
                    <a:pt x="722" y="533"/>
                    <a:pt x="727" y="563"/>
                    <a:pt x="743" y="588"/>
                  </a:cubicBezTo>
                  <a:cubicBezTo>
                    <a:pt x="1054" y="1090"/>
                    <a:pt x="1054" y="1090"/>
                    <a:pt x="1054" y="1090"/>
                  </a:cubicBezTo>
                  <a:cubicBezTo>
                    <a:pt x="953" y="1047"/>
                    <a:pt x="953" y="1047"/>
                    <a:pt x="953" y="1047"/>
                  </a:cubicBezTo>
                  <a:cubicBezTo>
                    <a:pt x="900" y="1024"/>
                    <a:pt x="838" y="1047"/>
                    <a:pt x="812" y="10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 name="Rectangle 14">
            <a:extLst>
              <a:ext uri="{FF2B5EF4-FFF2-40B4-BE49-F238E27FC236}">
                <a16:creationId xmlns:a16="http://schemas.microsoft.com/office/drawing/2014/main" id="{27A9CBA4-999C-40C7-8358-CE2C3503423F}"/>
              </a:ext>
            </a:extLst>
          </p:cNvPr>
          <p:cNvSpPr/>
          <p:nvPr/>
        </p:nvSpPr>
        <p:spPr>
          <a:xfrm>
            <a:off x="746082" y="4378150"/>
            <a:ext cx="333828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3200" b="1" kern="0" dirty="0" err="1">
                <a:solidFill>
                  <a:schemeClr val="accent4"/>
                </a:solidFill>
              </a:rPr>
              <a:t>Improve</a:t>
            </a:r>
            <a:r>
              <a:rPr lang="cs-CZ" sz="3200" b="1" kern="0" dirty="0">
                <a:solidFill>
                  <a:schemeClr val="accent4"/>
                </a:solidFill>
              </a:rPr>
              <a:t> User Interface</a:t>
            </a:r>
            <a:endParaRPr kumimoji="0" lang="cs-CZ" sz="900" b="0" i="0" u="none" strike="noStrike" kern="0" cap="none" spc="0" normalizeH="0" baseline="0" noProof="0" dirty="0">
              <a:ln>
                <a:noFill/>
              </a:ln>
              <a:effectLst/>
              <a:uLnTx/>
              <a:uFillTx/>
            </a:endParaRPr>
          </a:p>
        </p:txBody>
      </p:sp>
      <p:sp>
        <p:nvSpPr>
          <p:cNvPr id="16" name="Rectangle 15">
            <a:extLst>
              <a:ext uri="{FF2B5EF4-FFF2-40B4-BE49-F238E27FC236}">
                <a16:creationId xmlns:a16="http://schemas.microsoft.com/office/drawing/2014/main" id="{E34E4DA7-CF7A-4623-946F-BEDD72EE164F}"/>
              </a:ext>
            </a:extLst>
          </p:cNvPr>
          <p:cNvSpPr/>
          <p:nvPr/>
        </p:nvSpPr>
        <p:spPr>
          <a:xfrm>
            <a:off x="7824192" y="4378150"/>
            <a:ext cx="333828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3200" b="1" kern="0" dirty="0" err="1">
                <a:solidFill>
                  <a:schemeClr val="accent4"/>
                </a:solidFill>
              </a:rPr>
              <a:t>Implement</a:t>
            </a:r>
            <a:r>
              <a:rPr lang="cs-CZ" sz="3200" b="1" kern="0" dirty="0">
                <a:solidFill>
                  <a:schemeClr val="accent4"/>
                </a:solidFill>
              </a:rPr>
              <a:t> AI </a:t>
            </a:r>
            <a:r>
              <a:rPr lang="cs-CZ" sz="3200" b="1" kern="0" dirty="0" err="1">
                <a:solidFill>
                  <a:schemeClr val="accent4"/>
                </a:solidFill>
              </a:rPr>
              <a:t>recommender</a:t>
            </a:r>
            <a:endParaRPr kumimoji="0" lang="cs-CZ" sz="900" b="0" i="0" u="none" strike="noStrike" kern="0" cap="none" spc="0" normalizeH="0" baseline="0" noProof="0" dirty="0">
              <a:ln>
                <a:noFill/>
              </a:ln>
              <a:effectLst/>
              <a:uLnTx/>
              <a:uFillTx/>
            </a:endParaRPr>
          </a:p>
        </p:txBody>
      </p:sp>
      <p:sp>
        <p:nvSpPr>
          <p:cNvPr id="17" name="Rectangle 16">
            <a:extLst>
              <a:ext uri="{FF2B5EF4-FFF2-40B4-BE49-F238E27FC236}">
                <a16:creationId xmlns:a16="http://schemas.microsoft.com/office/drawing/2014/main" id="{E5F77CB4-A986-4FFD-9C67-962D4671390A}"/>
              </a:ext>
            </a:extLst>
          </p:cNvPr>
          <p:cNvSpPr/>
          <p:nvPr/>
        </p:nvSpPr>
        <p:spPr>
          <a:xfrm>
            <a:off x="4485910" y="4378150"/>
            <a:ext cx="333828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3200" b="1" kern="0" dirty="0" err="1">
                <a:solidFill>
                  <a:schemeClr val="accent4"/>
                </a:solidFill>
              </a:rPr>
              <a:t>Add</a:t>
            </a:r>
            <a:r>
              <a:rPr lang="cs-CZ" sz="3200" b="1" kern="0" dirty="0">
                <a:solidFill>
                  <a:schemeClr val="accent4"/>
                </a:solidFill>
              </a:rPr>
              <a:t> more </a:t>
            </a:r>
            <a:r>
              <a:rPr lang="cs-CZ" sz="3200" b="1" kern="0" dirty="0" err="1">
                <a:solidFill>
                  <a:schemeClr val="accent4"/>
                </a:solidFill>
              </a:rPr>
              <a:t>datasets</a:t>
            </a:r>
            <a:endParaRPr kumimoji="0" lang="cs-CZ" sz="900" b="0" i="0" u="none" strike="noStrike" kern="0" cap="none" spc="0" normalizeH="0" baseline="0" noProof="0" dirty="0">
              <a:ln>
                <a:noFill/>
              </a:ln>
              <a:effectLst/>
              <a:uLnTx/>
              <a:uFillTx/>
            </a:endParaRPr>
          </a:p>
        </p:txBody>
      </p:sp>
      <p:grpSp>
        <p:nvGrpSpPr>
          <p:cNvPr id="18" name="bcgIcons_ToolsPortfolioAnalysis">
            <a:extLst>
              <a:ext uri="{FF2B5EF4-FFF2-40B4-BE49-F238E27FC236}">
                <a16:creationId xmlns:a16="http://schemas.microsoft.com/office/drawing/2014/main" id="{0BE73B03-149B-451F-B72C-F0579297C61F}"/>
              </a:ext>
            </a:extLst>
          </p:cNvPr>
          <p:cNvGrpSpPr>
            <a:grpSpLocks noChangeAspect="1"/>
          </p:cNvGrpSpPr>
          <p:nvPr/>
        </p:nvGrpSpPr>
        <p:grpSpPr bwMode="auto">
          <a:xfrm>
            <a:off x="4833723" y="1916832"/>
            <a:ext cx="2736306" cy="2738842"/>
            <a:chOff x="1682" y="0"/>
            <a:chExt cx="4316" cy="4320"/>
          </a:xfrm>
        </p:grpSpPr>
        <p:sp>
          <p:nvSpPr>
            <p:cNvPr id="19" name="AutoShape 3">
              <a:extLst>
                <a:ext uri="{FF2B5EF4-FFF2-40B4-BE49-F238E27FC236}">
                  <a16:creationId xmlns:a16="http://schemas.microsoft.com/office/drawing/2014/main" id="{81778654-7DD0-419A-9FFD-E234AB4125B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5">
              <a:extLst>
                <a:ext uri="{FF2B5EF4-FFF2-40B4-BE49-F238E27FC236}">
                  <a16:creationId xmlns:a16="http://schemas.microsoft.com/office/drawing/2014/main" id="{A3AF6C2C-9577-46D3-B193-95944CEE4C9F}"/>
                </a:ext>
              </a:extLst>
            </p:cNvPr>
            <p:cNvSpPr>
              <a:spLocks noEditPoints="1"/>
            </p:cNvSpPr>
            <p:nvPr/>
          </p:nvSpPr>
          <p:spPr bwMode="auto">
            <a:xfrm>
              <a:off x="2044" y="1116"/>
              <a:ext cx="3615" cy="2098"/>
            </a:xfrm>
            <a:custGeom>
              <a:avLst/>
              <a:gdLst>
                <a:gd name="T0" fmla="*/ 1146 w 1930"/>
                <a:gd name="T1" fmla="*/ 274 h 1119"/>
                <a:gd name="T2" fmla="*/ 872 w 1930"/>
                <a:gd name="T3" fmla="*/ 547 h 1119"/>
                <a:gd name="T4" fmla="*/ 599 w 1930"/>
                <a:gd name="T5" fmla="*/ 274 h 1119"/>
                <a:gd name="T6" fmla="*/ 652 w 1930"/>
                <a:gd name="T7" fmla="*/ 112 h 1119"/>
                <a:gd name="T8" fmla="*/ 873 w 1930"/>
                <a:gd name="T9" fmla="*/ 277 h 1119"/>
                <a:gd name="T10" fmla="*/ 880 w 1930"/>
                <a:gd name="T11" fmla="*/ 0 h 1119"/>
                <a:gd name="T12" fmla="*/ 1146 w 1930"/>
                <a:gd name="T13" fmla="*/ 274 h 1119"/>
                <a:gd name="T14" fmla="*/ 222 w 1930"/>
                <a:gd name="T15" fmla="*/ 742 h 1119"/>
                <a:gd name="T16" fmla="*/ 222 w 1930"/>
                <a:gd name="T17" fmla="*/ 1109 h 1119"/>
                <a:gd name="T18" fmla="*/ 232 w 1930"/>
                <a:gd name="T19" fmla="*/ 1119 h 1119"/>
                <a:gd name="T20" fmla="*/ 352 w 1930"/>
                <a:gd name="T21" fmla="*/ 1119 h 1119"/>
                <a:gd name="T22" fmla="*/ 362 w 1930"/>
                <a:gd name="T23" fmla="*/ 1109 h 1119"/>
                <a:gd name="T24" fmla="*/ 362 w 1930"/>
                <a:gd name="T25" fmla="*/ 742 h 1119"/>
                <a:gd name="T26" fmla="*/ 352 w 1930"/>
                <a:gd name="T27" fmla="*/ 732 h 1119"/>
                <a:gd name="T28" fmla="*/ 232 w 1930"/>
                <a:gd name="T29" fmla="*/ 732 h 1119"/>
                <a:gd name="T30" fmla="*/ 222 w 1930"/>
                <a:gd name="T31" fmla="*/ 742 h 1119"/>
                <a:gd name="T32" fmla="*/ 443 w 1930"/>
                <a:gd name="T33" fmla="*/ 583 h 1119"/>
                <a:gd name="T34" fmla="*/ 443 w 1930"/>
                <a:gd name="T35" fmla="*/ 1109 h 1119"/>
                <a:gd name="T36" fmla="*/ 453 w 1930"/>
                <a:gd name="T37" fmla="*/ 1119 h 1119"/>
                <a:gd name="T38" fmla="*/ 574 w 1930"/>
                <a:gd name="T39" fmla="*/ 1119 h 1119"/>
                <a:gd name="T40" fmla="*/ 584 w 1930"/>
                <a:gd name="T41" fmla="*/ 1109 h 1119"/>
                <a:gd name="T42" fmla="*/ 584 w 1930"/>
                <a:gd name="T43" fmla="*/ 583 h 1119"/>
                <a:gd name="T44" fmla="*/ 574 w 1930"/>
                <a:gd name="T45" fmla="*/ 573 h 1119"/>
                <a:gd name="T46" fmla="*/ 453 w 1930"/>
                <a:gd name="T47" fmla="*/ 573 h 1119"/>
                <a:gd name="T48" fmla="*/ 443 w 1930"/>
                <a:gd name="T49" fmla="*/ 583 h 1119"/>
                <a:gd name="T50" fmla="*/ 0 w 1930"/>
                <a:gd name="T51" fmla="*/ 936 h 1119"/>
                <a:gd name="T52" fmla="*/ 0 w 1930"/>
                <a:gd name="T53" fmla="*/ 1109 h 1119"/>
                <a:gd name="T54" fmla="*/ 10 w 1930"/>
                <a:gd name="T55" fmla="*/ 1119 h 1119"/>
                <a:gd name="T56" fmla="*/ 130 w 1930"/>
                <a:gd name="T57" fmla="*/ 1119 h 1119"/>
                <a:gd name="T58" fmla="*/ 140 w 1930"/>
                <a:gd name="T59" fmla="*/ 1109 h 1119"/>
                <a:gd name="T60" fmla="*/ 140 w 1930"/>
                <a:gd name="T61" fmla="*/ 936 h 1119"/>
                <a:gd name="T62" fmla="*/ 130 w 1930"/>
                <a:gd name="T63" fmla="*/ 926 h 1119"/>
                <a:gd name="T64" fmla="*/ 10 w 1930"/>
                <a:gd name="T65" fmla="*/ 926 h 1119"/>
                <a:gd name="T66" fmla="*/ 0 w 1930"/>
                <a:gd name="T67" fmla="*/ 936 h 1119"/>
                <a:gd name="T68" fmla="*/ 1832 w 1930"/>
                <a:gd name="T69" fmla="*/ 724 h 1119"/>
                <a:gd name="T70" fmla="*/ 1811 w 1930"/>
                <a:gd name="T71" fmla="*/ 722 h 1119"/>
                <a:gd name="T72" fmla="*/ 1708 w 1930"/>
                <a:gd name="T73" fmla="*/ 804 h 1119"/>
                <a:gd name="T74" fmla="*/ 1604 w 1930"/>
                <a:gd name="T75" fmla="*/ 907 h 1119"/>
                <a:gd name="T76" fmla="*/ 1503 w 1930"/>
                <a:gd name="T77" fmla="*/ 827 h 1119"/>
                <a:gd name="T78" fmla="*/ 1442 w 1930"/>
                <a:gd name="T79" fmla="*/ 798 h 1119"/>
                <a:gd name="T80" fmla="*/ 1399 w 1930"/>
                <a:gd name="T81" fmla="*/ 808 h 1119"/>
                <a:gd name="T82" fmla="*/ 1394 w 1930"/>
                <a:gd name="T83" fmla="*/ 807 h 1119"/>
                <a:gd name="T84" fmla="*/ 1332 w 1930"/>
                <a:gd name="T85" fmla="*/ 875 h 1119"/>
                <a:gd name="T86" fmla="*/ 1333 w 1930"/>
                <a:gd name="T87" fmla="*/ 890 h 1119"/>
                <a:gd name="T88" fmla="*/ 1252 w 1930"/>
                <a:gd name="T89" fmla="*/ 992 h 1119"/>
                <a:gd name="T90" fmla="*/ 1184 w 1930"/>
                <a:gd name="T91" fmla="*/ 984 h 1119"/>
                <a:gd name="T92" fmla="*/ 1024 w 1930"/>
                <a:gd name="T93" fmla="*/ 1058 h 1119"/>
                <a:gd name="T94" fmla="*/ 1024 w 1930"/>
                <a:gd name="T95" fmla="*/ 1105 h 1119"/>
                <a:gd name="T96" fmla="*/ 1034 w 1930"/>
                <a:gd name="T97" fmla="*/ 1115 h 1119"/>
                <a:gd name="T98" fmla="*/ 1920 w 1930"/>
                <a:gd name="T99" fmla="*/ 1115 h 1119"/>
                <a:gd name="T100" fmla="*/ 1930 w 1930"/>
                <a:gd name="T101" fmla="*/ 1105 h 1119"/>
                <a:gd name="T102" fmla="*/ 1930 w 1930"/>
                <a:gd name="T103" fmla="*/ 655 h 1119"/>
                <a:gd name="T104" fmla="*/ 1832 w 1930"/>
                <a:gd name="T105" fmla="*/ 724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30" h="1119">
                  <a:moveTo>
                    <a:pt x="1146" y="274"/>
                  </a:moveTo>
                  <a:cubicBezTo>
                    <a:pt x="1146" y="424"/>
                    <a:pt x="1023" y="547"/>
                    <a:pt x="872" y="547"/>
                  </a:cubicBezTo>
                  <a:cubicBezTo>
                    <a:pt x="721" y="547"/>
                    <a:pt x="599" y="424"/>
                    <a:pt x="599" y="274"/>
                  </a:cubicBezTo>
                  <a:cubicBezTo>
                    <a:pt x="599" y="213"/>
                    <a:pt x="618" y="157"/>
                    <a:pt x="652" y="112"/>
                  </a:cubicBezTo>
                  <a:cubicBezTo>
                    <a:pt x="873" y="277"/>
                    <a:pt x="873" y="277"/>
                    <a:pt x="873" y="277"/>
                  </a:cubicBezTo>
                  <a:cubicBezTo>
                    <a:pt x="880" y="0"/>
                    <a:pt x="880" y="0"/>
                    <a:pt x="880" y="0"/>
                  </a:cubicBezTo>
                  <a:cubicBezTo>
                    <a:pt x="1027" y="5"/>
                    <a:pt x="1146" y="125"/>
                    <a:pt x="1146" y="274"/>
                  </a:cubicBezTo>
                  <a:close/>
                  <a:moveTo>
                    <a:pt x="222" y="742"/>
                  </a:moveTo>
                  <a:cubicBezTo>
                    <a:pt x="222" y="1109"/>
                    <a:pt x="222" y="1109"/>
                    <a:pt x="222" y="1109"/>
                  </a:cubicBezTo>
                  <a:cubicBezTo>
                    <a:pt x="222" y="1115"/>
                    <a:pt x="226" y="1119"/>
                    <a:pt x="232" y="1119"/>
                  </a:cubicBezTo>
                  <a:cubicBezTo>
                    <a:pt x="352" y="1119"/>
                    <a:pt x="352" y="1119"/>
                    <a:pt x="352" y="1119"/>
                  </a:cubicBezTo>
                  <a:cubicBezTo>
                    <a:pt x="358" y="1119"/>
                    <a:pt x="362" y="1115"/>
                    <a:pt x="362" y="1109"/>
                  </a:cubicBezTo>
                  <a:cubicBezTo>
                    <a:pt x="362" y="742"/>
                    <a:pt x="362" y="742"/>
                    <a:pt x="362" y="742"/>
                  </a:cubicBezTo>
                  <a:cubicBezTo>
                    <a:pt x="362" y="737"/>
                    <a:pt x="358" y="732"/>
                    <a:pt x="352" y="732"/>
                  </a:cubicBezTo>
                  <a:cubicBezTo>
                    <a:pt x="232" y="732"/>
                    <a:pt x="232" y="732"/>
                    <a:pt x="232" y="732"/>
                  </a:cubicBezTo>
                  <a:cubicBezTo>
                    <a:pt x="226" y="732"/>
                    <a:pt x="222" y="737"/>
                    <a:pt x="222" y="742"/>
                  </a:cubicBezTo>
                  <a:close/>
                  <a:moveTo>
                    <a:pt x="443" y="583"/>
                  </a:moveTo>
                  <a:cubicBezTo>
                    <a:pt x="443" y="1109"/>
                    <a:pt x="443" y="1109"/>
                    <a:pt x="443" y="1109"/>
                  </a:cubicBezTo>
                  <a:cubicBezTo>
                    <a:pt x="443" y="1115"/>
                    <a:pt x="448" y="1119"/>
                    <a:pt x="453" y="1119"/>
                  </a:cubicBezTo>
                  <a:cubicBezTo>
                    <a:pt x="574" y="1119"/>
                    <a:pt x="574" y="1119"/>
                    <a:pt x="574" y="1119"/>
                  </a:cubicBezTo>
                  <a:cubicBezTo>
                    <a:pt x="580" y="1119"/>
                    <a:pt x="584" y="1115"/>
                    <a:pt x="584" y="1109"/>
                  </a:cubicBezTo>
                  <a:cubicBezTo>
                    <a:pt x="584" y="583"/>
                    <a:pt x="584" y="583"/>
                    <a:pt x="584" y="583"/>
                  </a:cubicBezTo>
                  <a:cubicBezTo>
                    <a:pt x="584" y="578"/>
                    <a:pt x="580" y="573"/>
                    <a:pt x="574" y="573"/>
                  </a:cubicBezTo>
                  <a:cubicBezTo>
                    <a:pt x="453" y="573"/>
                    <a:pt x="453" y="573"/>
                    <a:pt x="453" y="573"/>
                  </a:cubicBezTo>
                  <a:cubicBezTo>
                    <a:pt x="448" y="573"/>
                    <a:pt x="443" y="578"/>
                    <a:pt x="443" y="583"/>
                  </a:cubicBezTo>
                  <a:close/>
                  <a:moveTo>
                    <a:pt x="0" y="936"/>
                  </a:moveTo>
                  <a:cubicBezTo>
                    <a:pt x="0" y="1109"/>
                    <a:pt x="0" y="1109"/>
                    <a:pt x="0" y="1109"/>
                  </a:cubicBezTo>
                  <a:cubicBezTo>
                    <a:pt x="0" y="1115"/>
                    <a:pt x="4" y="1119"/>
                    <a:pt x="10" y="1119"/>
                  </a:cubicBezTo>
                  <a:cubicBezTo>
                    <a:pt x="130" y="1119"/>
                    <a:pt x="130" y="1119"/>
                    <a:pt x="130" y="1119"/>
                  </a:cubicBezTo>
                  <a:cubicBezTo>
                    <a:pt x="136" y="1119"/>
                    <a:pt x="140" y="1115"/>
                    <a:pt x="140" y="1109"/>
                  </a:cubicBezTo>
                  <a:cubicBezTo>
                    <a:pt x="140" y="936"/>
                    <a:pt x="140" y="936"/>
                    <a:pt x="140" y="936"/>
                  </a:cubicBezTo>
                  <a:cubicBezTo>
                    <a:pt x="140" y="930"/>
                    <a:pt x="136" y="926"/>
                    <a:pt x="130" y="926"/>
                  </a:cubicBezTo>
                  <a:cubicBezTo>
                    <a:pt x="10" y="926"/>
                    <a:pt x="10" y="926"/>
                    <a:pt x="10" y="926"/>
                  </a:cubicBezTo>
                  <a:cubicBezTo>
                    <a:pt x="4" y="926"/>
                    <a:pt x="0" y="930"/>
                    <a:pt x="0" y="936"/>
                  </a:cubicBezTo>
                  <a:close/>
                  <a:moveTo>
                    <a:pt x="1832" y="724"/>
                  </a:moveTo>
                  <a:cubicBezTo>
                    <a:pt x="1825" y="724"/>
                    <a:pt x="1818" y="723"/>
                    <a:pt x="1811" y="722"/>
                  </a:cubicBezTo>
                  <a:cubicBezTo>
                    <a:pt x="1708" y="804"/>
                    <a:pt x="1708" y="804"/>
                    <a:pt x="1708" y="804"/>
                  </a:cubicBezTo>
                  <a:cubicBezTo>
                    <a:pt x="1707" y="861"/>
                    <a:pt x="1661" y="907"/>
                    <a:pt x="1604" y="907"/>
                  </a:cubicBezTo>
                  <a:cubicBezTo>
                    <a:pt x="1555" y="907"/>
                    <a:pt x="1514" y="873"/>
                    <a:pt x="1503" y="827"/>
                  </a:cubicBezTo>
                  <a:cubicBezTo>
                    <a:pt x="1442" y="798"/>
                    <a:pt x="1442" y="798"/>
                    <a:pt x="1442" y="798"/>
                  </a:cubicBezTo>
                  <a:cubicBezTo>
                    <a:pt x="1429" y="804"/>
                    <a:pt x="1414" y="808"/>
                    <a:pt x="1399" y="808"/>
                  </a:cubicBezTo>
                  <a:cubicBezTo>
                    <a:pt x="1397" y="808"/>
                    <a:pt x="1395" y="808"/>
                    <a:pt x="1394" y="807"/>
                  </a:cubicBezTo>
                  <a:cubicBezTo>
                    <a:pt x="1332" y="875"/>
                    <a:pt x="1332" y="875"/>
                    <a:pt x="1332" y="875"/>
                  </a:cubicBezTo>
                  <a:cubicBezTo>
                    <a:pt x="1333" y="880"/>
                    <a:pt x="1333" y="885"/>
                    <a:pt x="1333" y="890"/>
                  </a:cubicBezTo>
                  <a:cubicBezTo>
                    <a:pt x="1333" y="939"/>
                    <a:pt x="1300" y="982"/>
                    <a:pt x="1252" y="992"/>
                  </a:cubicBezTo>
                  <a:cubicBezTo>
                    <a:pt x="1228" y="997"/>
                    <a:pt x="1204" y="994"/>
                    <a:pt x="1184" y="984"/>
                  </a:cubicBezTo>
                  <a:cubicBezTo>
                    <a:pt x="1024" y="1058"/>
                    <a:pt x="1024" y="1058"/>
                    <a:pt x="1024" y="1058"/>
                  </a:cubicBezTo>
                  <a:cubicBezTo>
                    <a:pt x="1024" y="1105"/>
                    <a:pt x="1024" y="1105"/>
                    <a:pt x="1024" y="1105"/>
                  </a:cubicBezTo>
                  <a:cubicBezTo>
                    <a:pt x="1024" y="1111"/>
                    <a:pt x="1028" y="1115"/>
                    <a:pt x="1034" y="1115"/>
                  </a:cubicBezTo>
                  <a:cubicBezTo>
                    <a:pt x="1920" y="1115"/>
                    <a:pt x="1920" y="1115"/>
                    <a:pt x="1920" y="1115"/>
                  </a:cubicBezTo>
                  <a:cubicBezTo>
                    <a:pt x="1926" y="1115"/>
                    <a:pt x="1930" y="1111"/>
                    <a:pt x="1930" y="1105"/>
                  </a:cubicBezTo>
                  <a:cubicBezTo>
                    <a:pt x="1930" y="655"/>
                    <a:pt x="1930" y="655"/>
                    <a:pt x="1930" y="655"/>
                  </a:cubicBezTo>
                  <a:cubicBezTo>
                    <a:pt x="1916" y="695"/>
                    <a:pt x="1877" y="724"/>
                    <a:pt x="1832" y="72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6">
              <a:extLst>
                <a:ext uri="{FF2B5EF4-FFF2-40B4-BE49-F238E27FC236}">
                  <a16:creationId xmlns:a16="http://schemas.microsoft.com/office/drawing/2014/main" id="{1BECD259-1EB9-4F8D-A98F-BFE2F6776604}"/>
                </a:ext>
              </a:extLst>
            </p:cNvPr>
            <p:cNvSpPr>
              <a:spLocks noEditPoints="1"/>
            </p:cNvSpPr>
            <p:nvPr/>
          </p:nvSpPr>
          <p:spPr bwMode="auto">
            <a:xfrm>
              <a:off x="1849" y="951"/>
              <a:ext cx="3975" cy="2420"/>
            </a:xfrm>
            <a:custGeom>
              <a:avLst/>
              <a:gdLst>
                <a:gd name="T0" fmla="*/ 1318 w 2122"/>
                <a:gd name="T1" fmla="*/ 479 h 1291"/>
                <a:gd name="T2" fmla="*/ 976 w 2122"/>
                <a:gd name="T3" fmla="*/ 0 h 1291"/>
                <a:gd name="T4" fmla="*/ 634 w 2122"/>
                <a:gd name="T5" fmla="*/ 479 h 1291"/>
                <a:gd name="T6" fmla="*/ 0 w 2122"/>
                <a:gd name="T7" fmla="*/ 501 h 1291"/>
                <a:gd name="T8" fmla="*/ 22 w 2122"/>
                <a:gd name="T9" fmla="*/ 1291 h 1291"/>
                <a:gd name="T10" fmla="*/ 812 w 2122"/>
                <a:gd name="T11" fmla="*/ 1269 h 1291"/>
                <a:gd name="T12" fmla="*/ 976 w 2122"/>
                <a:gd name="T13" fmla="*/ 723 h 1291"/>
                <a:gd name="T14" fmla="*/ 1040 w 2122"/>
                <a:gd name="T15" fmla="*/ 1269 h 1291"/>
                <a:gd name="T16" fmla="*/ 2100 w 2122"/>
                <a:gd name="T17" fmla="*/ 1291 h 1291"/>
                <a:gd name="T18" fmla="*/ 2122 w 2122"/>
                <a:gd name="T19" fmla="*/ 501 h 1291"/>
                <a:gd name="T20" fmla="*/ 768 w 2122"/>
                <a:gd name="T21" fmla="*/ 1247 h 1291"/>
                <a:gd name="T22" fmla="*/ 44 w 2122"/>
                <a:gd name="T23" fmla="*/ 523 h 1291"/>
                <a:gd name="T24" fmla="*/ 768 w 2122"/>
                <a:gd name="T25" fmla="*/ 657 h 1291"/>
                <a:gd name="T26" fmla="*/ 659 w 2122"/>
                <a:gd name="T27" fmla="*/ 362 h 1291"/>
                <a:gd name="T28" fmla="*/ 1294 w 2122"/>
                <a:gd name="T29" fmla="*/ 362 h 1291"/>
                <a:gd name="T30" fmla="*/ 659 w 2122"/>
                <a:gd name="T31" fmla="*/ 362 h 1291"/>
                <a:gd name="T32" fmla="*/ 2078 w 2122"/>
                <a:gd name="T33" fmla="*/ 523 h 1291"/>
                <a:gd name="T34" fmla="*/ 1965 w 2122"/>
                <a:gd name="T35" fmla="*/ 656 h 1291"/>
                <a:gd name="T36" fmla="*/ 1876 w 2122"/>
                <a:gd name="T37" fmla="*/ 708 h 1291"/>
                <a:gd name="T38" fmla="*/ 1738 w 2122"/>
                <a:gd name="T39" fmla="*/ 839 h 1291"/>
                <a:gd name="T40" fmla="*/ 1667 w 2122"/>
                <a:gd name="T41" fmla="*/ 847 h 1291"/>
                <a:gd name="T42" fmla="*/ 1563 w 2122"/>
                <a:gd name="T43" fmla="*/ 792 h 1291"/>
                <a:gd name="T44" fmla="*/ 1443 w 2122"/>
                <a:gd name="T45" fmla="*/ 792 h 1291"/>
                <a:gd name="T46" fmla="*/ 1354 w 2122"/>
                <a:gd name="T47" fmla="*/ 922 h 1291"/>
                <a:gd name="T48" fmla="*/ 1273 w 2122"/>
                <a:gd name="T49" fmla="*/ 978 h 1291"/>
                <a:gd name="T50" fmla="*/ 1084 w 2122"/>
                <a:gd name="T51" fmla="*/ 1070 h 1291"/>
                <a:gd name="T52" fmla="*/ 1299 w 2122"/>
                <a:gd name="T53" fmla="*/ 523 h 1291"/>
                <a:gd name="T54" fmla="*/ 1936 w 2122"/>
                <a:gd name="T55" fmla="*/ 740 h 1291"/>
                <a:gd name="T56" fmla="*/ 1936 w 2122"/>
                <a:gd name="T57" fmla="*/ 676 h 1291"/>
                <a:gd name="T58" fmla="*/ 1740 w 2122"/>
                <a:gd name="T59" fmla="*/ 891 h 1291"/>
                <a:gd name="T60" fmla="*/ 1676 w 2122"/>
                <a:gd name="T61" fmla="*/ 891 h 1291"/>
                <a:gd name="T62" fmla="*/ 1740 w 2122"/>
                <a:gd name="T63" fmla="*/ 891 h 1291"/>
                <a:gd name="T64" fmla="*/ 1503 w 2122"/>
                <a:gd name="T65" fmla="*/ 824 h 1291"/>
                <a:gd name="T66" fmla="*/ 1503 w 2122"/>
                <a:gd name="T67" fmla="*/ 760 h 1291"/>
                <a:gd name="T68" fmla="*/ 1365 w 2122"/>
                <a:gd name="T69" fmla="*/ 978 h 1291"/>
                <a:gd name="T70" fmla="*/ 1301 w 2122"/>
                <a:gd name="T71" fmla="*/ 978 h 1291"/>
                <a:gd name="T72" fmla="*/ 1365 w 2122"/>
                <a:gd name="T73" fmla="*/ 978 h 1291"/>
                <a:gd name="T74" fmla="*/ 1084 w 2122"/>
                <a:gd name="T75" fmla="*/ 1118 h 1291"/>
                <a:gd name="T76" fmla="*/ 1333 w 2122"/>
                <a:gd name="T77" fmla="*/ 1038 h 1291"/>
                <a:gd name="T78" fmla="*/ 1387 w 2122"/>
                <a:gd name="T79" fmla="*/ 952 h 1291"/>
                <a:gd name="T80" fmla="*/ 1503 w 2122"/>
                <a:gd name="T81" fmla="*/ 852 h 1291"/>
                <a:gd name="T82" fmla="*/ 1648 w 2122"/>
                <a:gd name="T83" fmla="*/ 886 h 1291"/>
                <a:gd name="T84" fmla="*/ 1708 w 2122"/>
                <a:gd name="T85" fmla="*/ 951 h 1291"/>
                <a:gd name="T86" fmla="*/ 1765 w 2122"/>
                <a:gd name="T87" fmla="*/ 873 h 1291"/>
                <a:gd name="T88" fmla="*/ 1936 w 2122"/>
                <a:gd name="T89" fmla="*/ 768 h 1291"/>
                <a:gd name="T90" fmla="*/ 1993 w 2122"/>
                <a:gd name="T91" fmla="*/ 690 h 1291"/>
                <a:gd name="T92" fmla="*/ 2078 w 2122"/>
                <a:gd name="T93" fmla="*/ 1247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2" h="1291">
                  <a:moveTo>
                    <a:pt x="2100" y="479"/>
                  </a:moveTo>
                  <a:cubicBezTo>
                    <a:pt x="1318" y="479"/>
                    <a:pt x="1318" y="479"/>
                    <a:pt x="1318" y="479"/>
                  </a:cubicBezTo>
                  <a:cubicBezTo>
                    <a:pt x="1331" y="442"/>
                    <a:pt x="1338" y="403"/>
                    <a:pt x="1338" y="362"/>
                  </a:cubicBezTo>
                  <a:cubicBezTo>
                    <a:pt x="1338" y="162"/>
                    <a:pt x="1176" y="0"/>
                    <a:pt x="976" y="0"/>
                  </a:cubicBezTo>
                  <a:cubicBezTo>
                    <a:pt x="777" y="0"/>
                    <a:pt x="615" y="162"/>
                    <a:pt x="615" y="362"/>
                  </a:cubicBezTo>
                  <a:cubicBezTo>
                    <a:pt x="615" y="403"/>
                    <a:pt x="622" y="442"/>
                    <a:pt x="634" y="479"/>
                  </a:cubicBezTo>
                  <a:cubicBezTo>
                    <a:pt x="22" y="479"/>
                    <a:pt x="22" y="479"/>
                    <a:pt x="22" y="479"/>
                  </a:cubicBezTo>
                  <a:cubicBezTo>
                    <a:pt x="10" y="479"/>
                    <a:pt x="0" y="489"/>
                    <a:pt x="0" y="501"/>
                  </a:cubicBezTo>
                  <a:cubicBezTo>
                    <a:pt x="0" y="1269"/>
                    <a:pt x="0" y="1269"/>
                    <a:pt x="0" y="1269"/>
                  </a:cubicBezTo>
                  <a:cubicBezTo>
                    <a:pt x="0" y="1281"/>
                    <a:pt x="10" y="1291"/>
                    <a:pt x="22" y="1291"/>
                  </a:cubicBezTo>
                  <a:cubicBezTo>
                    <a:pt x="790" y="1291"/>
                    <a:pt x="790" y="1291"/>
                    <a:pt x="790" y="1291"/>
                  </a:cubicBezTo>
                  <a:cubicBezTo>
                    <a:pt x="802" y="1291"/>
                    <a:pt x="812" y="1281"/>
                    <a:pt x="812" y="1269"/>
                  </a:cubicBezTo>
                  <a:cubicBezTo>
                    <a:pt x="812" y="684"/>
                    <a:pt x="812" y="684"/>
                    <a:pt x="812" y="684"/>
                  </a:cubicBezTo>
                  <a:cubicBezTo>
                    <a:pt x="861" y="709"/>
                    <a:pt x="917" y="723"/>
                    <a:pt x="976" y="723"/>
                  </a:cubicBezTo>
                  <a:cubicBezTo>
                    <a:pt x="998" y="723"/>
                    <a:pt x="1019" y="721"/>
                    <a:pt x="1040" y="717"/>
                  </a:cubicBezTo>
                  <a:cubicBezTo>
                    <a:pt x="1040" y="1269"/>
                    <a:pt x="1040" y="1269"/>
                    <a:pt x="1040" y="1269"/>
                  </a:cubicBezTo>
                  <a:cubicBezTo>
                    <a:pt x="1040" y="1281"/>
                    <a:pt x="1050" y="1291"/>
                    <a:pt x="1062" y="1291"/>
                  </a:cubicBezTo>
                  <a:cubicBezTo>
                    <a:pt x="2100" y="1291"/>
                    <a:pt x="2100" y="1291"/>
                    <a:pt x="2100" y="1291"/>
                  </a:cubicBezTo>
                  <a:cubicBezTo>
                    <a:pt x="2112" y="1291"/>
                    <a:pt x="2122" y="1281"/>
                    <a:pt x="2122" y="1269"/>
                  </a:cubicBezTo>
                  <a:cubicBezTo>
                    <a:pt x="2122" y="501"/>
                    <a:pt x="2122" y="501"/>
                    <a:pt x="2122" y="501"/>
                  </a:cubicBezTo>
                  <a:cubicBezTo>
                    <a:pt x="2122" y="489"/>
                    <a:pt x="2112" y="479"/>
                    <a:pt x="2100" y="479"/>
                  </a:cubicBezTo>
                  <a:close/>
                  <a:moveTo>
                    <a:pt x="768" y="1247"/>
                  </a:moveTo>
                  <a:cubicBezTo>
                    <a:pt x="44" y="1247"/>
                    <a:pt x="44" y="1247"/>
                    <a:pt x="44" y="1247"/>
                  </a:cubicBezTo>
                  <a:cubicBezTo>
                    <a:pt x="44" y="523"/>
                    <a:pt x="44" y="523"/>
                    <a:pt x="44" y="523"/>
                  </a:cubicBezTo>
                  <a:cubicBezTo>
                    <a:pt x="653" y="523"/>
                    <a:pt x="653" y="523"/>
                    <a:pt x="653" y="523"/>
                  </a:cubicBezTo>
                  <a:cubicBezTo>
                    <a:pt x="680" y="577"/>
                    <a:pt x="719" y="623"/>
                    <a:pt x="768" y="657"/>
                  </a:cubicBezTo>
                  <a:lnTo>
                    <a:pt x="768" y="1247"/>
                  </a:lnTo>
                  <a:close/>
                  <a:moveTo>
                    <a:pt x="659" y="362"/>
                  </a:moveTo>
                  <a:cubicBezTo>
                    <a:pt x="659" y="186"/>
                    <a:pt x="801" y="44"/>
                    <a:pt x="976" y="44"/>
                  </a:cubicBezTo>
                  <a:cubicBezTo>
                    <a:pt x="1151" y="44"/>
                    <a:pt x="1294" y="186"/>
                    <a:pt x="1294" y="362"/>
                  </a:cubicBezTo>
                  <a:cubicBezTo>
                    <a:pt x="1294" y="537"/>
                    <a:pt x="1151" y="679"/>
                    <a:pt x="976" y="679"/>
                  </a:cubicBezTo>
                  <a:cubicBezTo>
                    <a:pt x="801" y="679"/>
                    <a:pt x="659" y="537"/>
                    <a:pt x="659" y="362"/>
                  </a:cubicBezTo>
                  <a:close/>
                  <a:moveTo>
                    <a:pt x="1299" y="523"/>
                  </a:moveTo>
                  <a:cubicBezTo>
                    <a:pt x="2078" y="523"/>
                    <a:pt x="2078" y="523"/>
                    <a:pt x="2078" y="523"/>
                  </a:cubicBezTo>
                  <a:cubicBezTo>
                    <a:pt x="2078" y="564"/>
                    <a:pt x="2078" y="564"/>
                    <a:pt x="2078" y="564"/>
                  </a:cubicBezTo>
                  <a:cubicBezTo>
                    <a:pt x="1965" y="656"/>
                    <a:pt x="1965" y="656"/>
                    <a:pt x="1965" y="656"/>
                  </a:cubicBezTo>
                  <a:cubicBezTo>
                    <a:pt x="1957" y="651"/>
                    <a:pt x="1947" y="648"/>
                    <a:pt x="1936" y="648"/>
                  </a:cubicBezTo>
                  <a:cubicBezTo>
                    <a:pt x="1903" y="648"/>
                    <a:pt x="1876" y="675"/>
                    <a:pt x="1876" y="708"/>
                  </a:cubicBezTo>
                  <a:cubicBezTo>
                    <a:pt x="1876" y="714"/>
                    <a:pt x="1877" y="720"/>
                    <a:pt x="1879" y="726"/>
                  </a:cubicBezTo>
                  <a:cubicBezTo>
                    <a:pt x="1738" y="839"/>
                    <a:pt x="1738" y="839"/>
                    <a:pt x="1738" y="839"/>
                  </a:cubicBezTo>
                  <a:cubicBezTo>
                    <a:pt x="1729" y="834"/>
                    <a:pt x="1719" y="831"/>
                    <a:pt x="1708" y="831"/>
                  </a:cubicBezTo>
                  <a:cubicBezTo>
                    <a:pt x="1692" y="831"/>
                    <a:pt x="1678" y="837"/>
                    <a:pt x="1667" y="847"/>
                  </a:cubicBezTo>
                  <a:cubicBezTo>
                    <a:pt x="1562" y="796"/>
                    <a:pt x="1562" y="796"/>
                    <a:pt x="1562" y="796"/>
                  </a:cubicBezTo>
                  <a:cubicBezTo>
                    <a:pt x="1563" y="795"/>
                    <a:pt x="1563" y="793"/>
                    <a:pt x="1563" y="792"/>
                  </a:cubicBezTo>
                  <a:cubicBezTo>
                    <a:pt x="1563" y="759"/>
                    <a:pt x="1536" y="732"/>
                    <a:pt x="1503" y="732"/>
                  </a:cubicBezTo>
                  <a:cubicBezTo>
                    <a:pt x="1470" y="732"/>
                    <a:pt x="1443" y="759"/>
                    <a:pt x="1443" y="792"/>
                  </a:cubicBezTo>
                  <a:cubicBezTo>
                    <a:pt x="1443" y="801"/>
                    <a:pt x="1445" y="810"/>
                    <a:pt x="1449" y="818"/>
                  </a:cubicBezTo>
                  <a:cubicBezTo>
                    <a:pt x="1354" y="922"/>
                    <a:pt x="1354" y="922"/>
                    <a:pt x="1354" y="922"/>
                  </a:cubicBezTo>
                  <a:cubicBezTo>
                    <a:pt x="1348" y="920"/>
                    <a:pt x="1341" y="918"/>
                    <a:pt x="1333" y="918"/>
                  </a:cubicBezTo>
                  <a:cubicBezTo>
                    <a:pt x="1300" y="918"/>
                    <a:pt x="1273" y="945"/>
                    <a:pt x="1273" y="978"/>
                  </a:cubicBezTo>
                  <a:cubicBezTo>
                    <a:pt x="1273" y="980"/>
                    <a:pt x="1273" y="981"/>
                    <a:pt x="1273" y="982"/>
                  </a:cubicBezTo>
                  <a:cubicBezTo>
                    <a:pt x="1084" y="1070"/>
                    <a:pt x="1084" y="1070"/>
                    <a:pt x="1084" y="1070"/>
                  </a:cubicBezTo>
                  <a:cubicBezTo>
                    <a:pt x="1084" y="707"/>
                    <a:pt x="1084" y="707"/>
                    <a:pt x="1084" y="707"/>
                  </a:cubicBezTo>
                  <a:cubicBezTo>
                    <a:pt x="1178" y="677"/>
                    <a:pt x="1256" y="610"/>
                    <a:pt x="1299" y="523"/>
                  </a:cubicBezTo>
                  <a:close/>
                  <a:moveTo>
                    <a:pt x="1968" y="708"/>
                  </a:moveTo>
                  <a:cubicBezTo>
                    <a:pt x="1968" y="726"/>
                    <a:pt x="1954" y="740"/>
                    <a:pt x="1936" y="740"/>
                  </a:cubicBezTo>
                  <a:cubicBezTo>
                    <a:pt x="1918" y="740"/>
                    <a:pt x="1904" y="726"/>
                    <a:pt x="1904" y="708"/>
                  </a:cubicBezTo>
                  <a:cubicBezTo>
                    <a:pt x="1904" y="691"/>
                    <a:pt x="1918" y="676"/>
                    <a:pt x="1936" y="676"/>
                  </a:cubicBezTo>
                  <a:cubicBezTo>
                    <a:pt x="1954" y="676"/>
                    <a:pt x="1968" y="691"/>
                    <a:pt x="1968" y="708"/>
                  </a:cubicBezTo>
                  <a:close/>
                  <a:moveTo>
                    <a:pt x="1740" y="891"/>
                  </a:moveTo>
                  <a:cubicBezTo>
                    <a:pt x="1740" y="908"/>
                    <a:pt x="1726" y="923"/>
                    <a:pt x="1708" y="923"/>
                  </a:cubicBezTo>
                  <a:cubicBezTo>
                    <a:pt x="1690" y="923"/>
                    <a:pt x="1676" y="908"/>
                    <a:pt x="1676" y="891"/>
                  </a:cubicBezTo>
                  <a:cubicBezTo>
                    <a:pt x="1676" y="873"/>
                    <a:pt x="1690" y="859"/>
                    <a:pt x="1708" y="859"/>
                  </a:cubicBezTo>
                  <a:cubicBezTo>
                    <a:pt x="1726" y="859"/>
                    <a:pt x="1740" y="873"/>
                    <a:pt x="1740" y="891"/>
                  </a:cubicBezTo>
                  <a:close/>
                  <a:moveTo>
                    <a:pt x="1535" y="792"/>
                  </a:moveTo>
                  <a:cubicBezTo>
                    <a:pt x="1535" y="809"/>
                    <a:pt x="1520" y="824"/>
                    <a:pt x="1503" y="824"/>
                  </a:cubicBezTo>
                  <a:cubicBezTo>
                    <a:pt x="1485" y="824"/>
                    <a:pt x="1471" y="809"/>
                    <a:pt x="1471" y="792"/>
                  </a:cubicBezTo>
                  <a:cubicBezTo>
                    <a:pt x="1471" y="774"/>
                    <a:pt x="1485" y="760"/>
                    <a:pt x="1503" y="760"/>
                  </a:cubicBezTo>
                  <a:cubicBezTo>
                    <a:pt x="1520" y="760"/>
                    <a:pt x="1535" y="774"/>
                    <a:pt x="1535" y="792"/>
                  </a:cubicBezTo>
                  <a:close/>
                  <a:moveTo>
                    <a:pt x="1365" y="978"/>
                  </a:moveTo>
                  <a:cubicBezTo>
                    <a:pt x="1365" y="996"/>
                    <a:pt x="1351" y="1010"/>
                    <a:pt x="1333" y="1010"/>
                  </a:cubicBezTo>
                  <a:cubicBezTo>
                    <a:pt x="1315" y="1010"/>
                    <a:pt x="1301" y="996"/>
                    <a:pt x="1301" y="978"/>
                  </a:cubicBezTo>
                  <a:cubicBezTo>
                    <a:pt x="1301" y="961"/>
                    <a:pt x="1315" y="946"/>
                    <a:pt x="1333" y="946"/>
                  </a:cubicBezTo>
                  <a:cubicBezTo>
                    <a:pt x="1351" y="946"/>
                    <a:pt x="1365" y="961"/>
                    <a:pt x="1365" y="978"/>
                  </a:cubicBezTo>
                  <a:close/>
                  <a:moveTo>
                    <a:pt x="1084" y="1247"/>
                  </a:moveTo>
                  <a:cubicBezTo>
                    <a:pt x="1084" y="1118"/>
                    <a:pt x="1084" y="1118"/>
                    <a:pt x="1084" y="1118"/>
                  </a:cubicBezTo>
                  <a:cubicBezTo>
                    <a:pt x="1292" y="1022"/>
                    <a:pt x="1292" y="1022"/>
                    <a:pt x="1292" y="1022"/>
                  </a:cubicBezTo>
                  <a:cubicBezTo>
                    <a:pt x="1302" y="1032"/>
                    <a:pt x="1317" y="1038"/>
                    <a:pt x="1333" y="1038"/>
                  </a:cubicBezTo>
                  <a:cubicBezTo>
                    <a:pt x="1366" y="1038"/>
                    <a:pt x="1393" y="1012"/>
                    <a:pt x="1393" y="978"/>
                  </a:cubicBezTo>
                  <a:cubicBezTo>
                    <a:pt x="1393" y="969"/>
                    <a:pt x="1391" y="960"/>
                    <a:pt x="1387" y="952"/>
                  </a:cubicBezTo>
                  <a:cubicBezTo>
                    <a:pt x="1481" y="848"/>
                    <a:pt x="1481" y="848"/>
                    <a:pt x="1481" y="848"/>
                  </a:cubicBezTo>
                  <a:cubicBezTo>
                    <a:pt x="1488" y="850"/>
                    <a:pt x="1495" y="852"/>
                    <a:pt x="1503" y="852"/>
                  </a:cubicBezTo>
                  <a:cubicBezTo>
                    <a:pt x="1518" y="852"/>
                    <a:pt x="1533" y="846"/>
                    <a:pt x="1543" y="836"/>
                  </a:cubicBezTo>
                  <a:cubicBezTo>
                    <a:pt x="1648" y="886"/>
                    <a:pt x="1648" y="886"/>
                    <a:pt x="1648" y="886"/>
                  </a:cubicBezTo>
                  <a:cubicBezTo>
                    <a:pt x="1648" y="888"/>
                    <a:pt x="1648" y="889"/>
                    <a:pt x="1648" y="891"/>
                  </a:cubicBezTo>
                  <a:cubicBezTo>
                    <a:pt x="1648" y="924"/>
                    <a:pt x="1675" y="951"/>
                    <a:pt x="1708" y="951"/>
                  </a:cubicBezTo>
                  <a:cubicBezTo>
                    <a:pt x="1741" y="951"/>
                    <a:pt x="1768" y="924"/>
                    <a:pt x="1768" y="891"/>
                  </a:cubicBezTo>
                  <a:cubicBezTo>
                    <a:pt x="1768" y="884"/>
                    <a:pt x="1767" y="879"/>
                    <a:pt x="1765" y="873"/>
                  </a:cubicBezTo>
                  <a:cubicBezTo>
                    <a:pt x="1906" y="760"/>
                    <a:pt x="1906" y="760"/>
                    <a:pt x="1906" y="760"/>
                  </a:cubicBezTo>
                  <a:cubicBezTo>
                    <a:pt x="1915" y="765"/>
                    <a:pt x="1925" y="768"/>
                    <a:pt x="1936" y="768"/>
                  </a:cubicBezTo>
                  <a:cubicBezTo>
                    <a:pt x="1969" y="768"/>
                    <a:pt x="1996" y="741"/>
                    <a:pt x="1996" y="708"/>
                  </a:cubicBezTo>
                  <a:cubicBezTo>
                    <a:pt x="1996" y="702"/>
                    <a:pt x="1995" y="696"/>
                    <a:pt x="1993" y="690"/>
                  </a:cubicBezTo>
                  <a:cubicBezTo>
                    <a:pt x="2078" y="621"/>
                    <a:pt x="2078" y="621"/>
                    <a:pt x="2078" y="621"/>
                  </a:cubicBezTo>
                  <a:cubicBezTo>
                    <a:pt x="2078" y="1247"/>
                    <a:pt x="2078" y="1247"/>
                    <a:pt x="2078" y="1247"/>
                  </a:cubicBezTo>
                  <a:lnTo>
                    <a:pt x="1084" y="124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320493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46645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8" name="think-cell Slide" r:id="rId8" imgW="608" imgH="606" progId="TCLayout.ActiveDocument.1">
                  <p:embed/>
                </p:oleObj>
              </mc:Choice>
              <mc:Fallback>
                <p:oleObj name="think-cell Slide" r:id="rId8"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p:txBody>
          <a:bodyPr vert="horz"/>
          <a:lstStyle/>
          <a:p>
            <a:r>
              <a:rPr lang="cs-CZ" dirty="0" err="1"/>
              <a:t>Possible</a:t>
            </a:r>
            <a:r>
              <a:rPr lang="cs-CZ" dirty="0"/>
              <a:t> </a:t>
            </a:r>
            <a:r>
              <a:rPr lang="cs-CZ" dirty="0" err="1"/>
              <a:t>monetization</a:t>
            </a:r>
            <a:endParaRPr lang="en-GB" dirty="0"/>
          </a:p>
        </p:txBody>
      </p:sp>
      <p:grpSp>
        <p:nvGrpSpPr>
          <p:cNvPr id="7" name="bcgIcons_BusinessmanFront">
            <a:extLst>
              <a:ext uri="{FF2B5EF4-FFF2-40B4-BE49-F238E27FC236}">
                <a16:creationId xmlns:a16="http://schemas.microsoft.com/office/drawing/2014/main" id="{9AB75155-C381-4A54-82F8-A3AB3831520E}"/>
              </a:ext>
            </a:extLst>
          </p:cNvPr>
          <p:cNvGrpSpPr>
            <a:grpSpLocks noChangeAspect="1"/>
          </p:cNvGrpSpPr>
          <p:nvPr/>
        </p:nvGrpSpPr>
        <p:grpSpPr bwMode="auto">
          <a:xfrm>
            <a:off x="4965487" y="2069544"/>
            <a:ext cx="2261026" cy="2263121"/>
            <a:chOff x="1682" y="0"/>
            <a:chExt cx="4316" cy="4320"/>
          </a:xfrm>
        </p:grpSpPr>
        <p:sp>
          <p:nvSpPr>
            <p:cNvPr id="8" name="AutoShape 13">
              <a:extLst>
                <a:ext uri="{FF2B5EF4-FFF2-40B4-BE49-F238E27FC236}">
                  <a16:creationId xmlns:a16="http://schemas.microsoft.com/office/drawing/2014/main" id="{26801969-C5A7-48C7-97F4-93601E1C443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15">
              <a:extLst>
                <a:ext uri="{FF2B5EF4-FFF2-40B4-BE49-F238E27FC236}">
                  <a16:creationId xmlns:a16="http://schemas.microsoft.com/office/drawing/2014/main" id="{88A1063C-F31F-4344-A02D-595701A5AB4D}"/>
                </a:ext>
              </a:extLst>
            </p:cNvPr>
            <p:cNvSpPr>
              <a:spLocks noEditPoints="1"/>
            </p:cNvSpPr>
            <p:nvPr/>
          </p:nvSpPr>
          <p:spPr bwMode="auto">
            <a:xfrm>
              <a:off x="2956" y="519"/>
              <a:ext cx="1772" cy="3152"/>
            </a:xfrm>
            <a:custGeom>
              <a:avLst/>
              <a:gdLst>
                <a:gd name="T0" fmla="*/ 928 w 946"/>
                <a:gd name="T1" fmla="*/ 647 h 1681"/>
                <a:gd name="T2" fmla="*/ 928 w 946"/>
                <a:gd name="T3" fmla="*/ 646 h 1681"/>
                <a:gd name="T4" fmla="*/ 874 w 946"/>
                <a:gd name="T5" fmla="*/ 722 h 1681"/>
                <a:gd name="T6" fmla="*/ 840 w 946"/>
                <a:gd name="T7" fmla="*/ 722 h 1681"/>
                <a:gd name="T8" fmla="*/ 835 w 946"/>
                <a:gd name="T9" fmla="*/ 366 h 1681"/>
                <a:gd name="T10" fmla="*/ 214 w 946"/>
                <a:gd name="T11" fmla="*/ 388 h 1681"/>
                <a:gd name="T12" fmla="*/ 98 w 946"/>
                <a:gd name="T13" fmla="*/ 716 h 1681"/>
                <a:gd name="T14" fmla="*/ 67 w 946"/>
                <a:gd name="T15" fmla="*/ 713 h 1681"/>
                <a:gd name="T16" fmla="*/ 20 w 946"/>
                <a:gd name="T17" fmla="*/ 653 h 1681"/>
                <a:gd name="T18" fmla="*/ 20 w 946"/>
                <a:gd name="T19" fmla="*/ 652 h 1681"/>
                <a:gd name="T20" fmla="*/ 1 w 946"/>
                <a:gd name="T21" fmla="*/ 483 h 1681"/>
                <a:gd name="T22" fmla="*/ 473 w 946"/>
                <a:gd name="T23" fmla="*/ 0 h 1681"/>
                <a:gd name="T24" fmla="*/ 945 w 946"/>
                <a:gd name="T25" fmla="*/ 483 h 1681"/>
                <a:gd name="T26" fmla="*/ 928 w 946"/>
                <a:gd name="T27" fmla="*/ 647 h 1681"/>
                <a:gd name="T28" fmla="*/ 583 w 946"/>
                <a:gd name="T29" fmla="*/ 1667 h 1681"/>
                <a:gd name="T30" fmla="*/ 514 w 946"/>
                <a:gd name="T31" fmla="*/ 1465 h 1681"/>
                <a:gd name="T32" fmla="*/ 515 w 946"/>
                <a:gd name="T33" fmla="*/ 1457 h 1681"/>
                <a:gd name="T34" fmla="*/ 579 w 946"/>
                <a:gd name="T35" fmla="*/ 1356 h 1681"/>
                <a:gd name="T36" fmla="*/ 573 w 946"/>
                <a:gd name="T37" fmla="*/ 1342 h 1681"/>
                <a:gd name="T38" fmla="*/ 476 w 946"/>
                <a:gd name="T39" fmla="*/ 1329 h 1681"/>
                <a:gd name="T40" fmla="*/ 374 w 946"/>
                <a:gd name="T41" fmla="*/ 1342 h 1681"/>
                <a:gd name="T42" fmla="*/ 368 w 946"/>
                <a:gd name="T43" fmla="*/ 1357 h 1681"/>
                <a:gd name="T44" fmla="*/ 432 w 946"/>
                <a:gd name="T45" fmla="*/ 1457 h 1681"/>
                <a:gd name="T46" fmla="*/ 433 w 946"/>
                <a:gd name="T47" fmla="*/ 1465 h 1681"/>
                <a:gd name="T48" fmla="*/ 358 w 946"/>
                <a:gd name="T49" fmla="*/ 1667 h 1681"/>
                <a:gd name="T50" fmla="*/ 368 w 946"/>
                <a:gd name="T51" fmla="*/ 1681 h 1681"/>
                <a:gd name="T52" fmla="*/ 574 w 946"/>
                <a:gd name="T53" fmla="*/ 1681 h 1681"/>
                <a:gd name="T54" fmla="*/ 583 w 946"/>
                <a:gd name="T55" fmla="*/ 1667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46" h="1681">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583" y="1667"/>
                  </a:moveTo>
                  <a:cubicBezTo>
                    <a:pt x="514" y="1465"/>
                    <a:pt x="514" y="1465"/>
                    <a:pt x="514" y="1465"/>
                  </a:cubicBezTo>
                  <a:cubicBezTo>
                    <a:pt x="513" y="1462"/>
                    <a:pt x="514" y="1459"/>
                    <a:pt x="515" y="1457"/>
                  </a:cubicBezTo>
                  <a:cubicBezTo>
                    <a:pt x="579" y="1356"/>
                    <a:pt x="579" y="1356"/>
                    <a:pt x="579" y="1356"/>
                  </a:cubicBezTo>
                  <a:cubicBezTo>
                    <a:pt x="582" y="1351"/>
                    <a:pt x="579" y="1344"/>
                    <a:pt x="573" y="1342"/>
                  </a:cubicBezTo>
                  <a:cubicBezTo>
                    <a:pt x="552" y="1337"/>
                    <a:pt x="510" y="1329"/>
                    <a:pt x="476" y="1329"/>
                  </a:cubicBezTo>
                  <a:cubicBezTo>
                    <a:pt x="442" y="1329"/>
                    <a:pt x="396" y="1338"/>
                    <a:pt x="374" y="1342"/>
                  </a:cubicBezTo>
                  <a:cubicBezTo>
                    <a:pt x="368" y="1344"/>
                    <a:pt x="365" y="1351"/>
                    <a:pt x="368" y="1357"/>
                  </a:cubicBezTo>
                  <a:cubicBezTo>
                    <a:pt x="432" y="1457"/>
                    <a:pt x="432" y="1457"/>
                    <a:pt x="432" y="1457"/>
                  </a:cubicBezTo>
                  <a:cubicBezTo>
                    <a:pt x="433" y="1460"/>
                    <a:pt x="434" y="1463"/>
                    <a:pt x="433" y="1465"/>
                  </a:cubicBezTo>
                  <a:cubicBezTo>
                    <a:pt x="358" y="1667"/>
                    <a:pt x="358" y="1667"/>
                    <a:pt x="358" y="1667"/>
                  </a:cubicBezTo>
                  <a:cubicBezTo>
                    <a:pt x="356" y="1674"/>
                    <a:pt x="361" y="1681"/>
                    <a:pt x="368" y="1681"/>
                  </a:cubicBezTo>
                  <a:cubicBezTo>
                    <a:pt x="574" y="1681"/>
                    <a:pt x="574" y="1681"/>
                    <a:pt x="574" y="1681"/>
                  </a:cubicBezTo>
                  <a:cubicBezTo>
                    <a:pt x="581" y="1681"/>
                    <a:pt x="585" y="1674"/>
                    <a:pt x="583" y="166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16">
              <a:extLst>
                <a:ext uri="{FF2B5EF4-FFF2-40B4-BE49-F238E27FC236}">
                  <a16:creationId xmlns:a16="http://schemas.microsoft.com/office/drawing/2014/main" id="{6B20BA0B-2EB6-40B3-BFBE-0AD86828B983}"/>
                </a:ext>
              </a:extLst>
            </p:cNvPr>
            <p:cNvSpPr>
              <a:spLocks noEditPoints="1"/>
            </p:cNvSpPr>
            <p:nvPr/>
          </p:nvSpPr>
          <p:spPr bwMode="auto">
            <a:xfrm>
              <a:off x="2150" y="1869"/>
              <a:ext cx="3383" cy="1802"/>
            </a:xfrm>
            <a:custGeom>
              <a:avLst/>
              <a:gdLst>
                <a:gd name="T0" fmla="*/ 26 w 1806"/>
                <a:gd name="T1" fmla="*/ 961 h 961"/>
                <a:gd name="T2" fmla="*/ 5 w 1806"/>
                <a:gd name="T3" fmla="*/ 931 h 961"/>
                <a:gd name="T4" fmla="*/ 223 w 1806"/>
                <a:gd name="T5" fmla="*/ 614 h 961"/>
                <a:gd name="T6" fmla="*/ 602 w 1806"/>
                <a:gd name="T7" fmla="*/ 548 h 961"/>
                <a:gd name="T8" fmla="*/ 612 w 1806"/>
                <a:gd name="T9" fmla="*/ 555 h 961"/>
                <a:gd name="T10" fmla="*/ 703 w 1806"/>
                <a:gd name="T11" fmla="*/ 948 h 961"/>
                <a:gd name="T12" fmla="*/ 693 w 1806"/>
                <a:gd name="T13" fmla="*/ 961 h 961"/>
                <a:gd name="T14" fmla="*/ 26 w 1806"/>
                <a:gd name="T15" fmla="*/ 961 h 961"/>
                <a:gd name="T16" fmla="*/ 1780 w 1806"/>
                <a:gd name="T17" fmla="*/ 961 h 961"/>
                <a:gd name="T18" fmla="*/ 1801 w 1806"/>
                <a:gd name="T19" fmla="*/ 931 h 961"/>
                <a:gd name="T20" fmla="*/ 1583 w 1806"/>
                <a:gd name="T21" fmla="*/ 614 h 961"/>
                <a:gd name="T22" fmla="*/ 1204 w 1806"/>
                <a:gd name="T23" fmla="*/ 548 h 961"/>
                <a:gd name="T24" fmla="*/ 1194 w 1806"/>
                <a:gd name="T25" fmla="*/ 555 h 961"/>
                <a:gd name="T26" fmla="*/ 1103 w 1806"/>
                <a:gd name="T27" fmla="*/ 948 h 961"/>
                <a:gd name="T28" fmla="*/ 1113 w 1806"/>
                <a:gd name="T29" fmla="*/ 961 h 961"/>
                <a:gd name="T30" fmla="*/ 1780 w 1806"/>
                <a:gd name="T31" fmla="*/ 961 h 961"/>
                <a:gd name="T32" fmla="*/ 1329 w 1806"/>
                <a:gd name="T33" fmla="*/ 24 h 961"/>
                <a:gd name="T34" fmla="*/ 1283 w 1806"/>
                <a:gd name="T35" fmla="*/ 77 h 961"/>
                <a:gd name="T36" fmla="*/ 1273 w 1806"/>
                <a:gd name="T37" fmla="*/ 89 h 961"/>
                <a:gd name="T38" fmla="*/ 1129 w 1806"/>
                <a:gd name="T39" fmla="*/ 391 h 961"/>
                <a:gd name="T40" fmla="*/ 903 w 1806"/>
                <a:gd name="T41" fmla="*/ 504 h 961"/>
                <a:gd name="T42" fmla="*/ 677 w 1806"/>
                <a:gd name="T43" fmla="*/ 391 h 961"/>
                <a:gd name="T44" fmla="*/ 533 w 1806"/>
                <a:gd name="T45" fmla="*/ 89 h 961"/>
                <a:gd name="T46" fmla="*/ 523 w 1806"/>
                <a:gd name="T47" fmla="*/ 77 h 961"/>
                <a:gd name="T48" fmla="*/ 477 w 1806"/>
                <a:gd name="T49" fmla="*/ 24 h 961"/>
                <a:gd name="T50" fmla="*/ 426 w 1806"/>
                <a:gd name="T51" fmla="*/ 0 h 961"/>
                <a:gd name="T52" fmla="*/ 426 w 1806"/>
                <a:gd name="T53" fmla="*/ 5 h 961"/>
                <a:gd name="T54" fmla="*/ 495 w 1806"/>
                <a:gd name="T55" fmla="*/ 112 h 961"/>
                <a:gd name="T56" fmla="*/ 639 w 1806"/>
                <a:gd name="T57" fmla="*/ 414 h 961"/>
                <a:gd name="T58" fmla="*/ 639 w 1806"/>
                <a:gd name="T59" fmla="*/ 512 h 961"/>
                <a:gd name="T60" fmla="*/ 646 w 1806"/>
                <a:gd name="T61" fmla="*/ 522 h 961"/>
                <a:gd name="T62" fmla="*/ 683 w 1806"/>
                <a:gd name="T63" fmla="*/ 560 h 961"/>
                <a:gd name="T64" fmla="*/ 683 w 1806"/>
                <a:gd name="T65" fmla="*/ 451 h 961"/>
                <a:gd name="T66" fmla="*/ 903 w 1806"/>
                <a:gd name="T67" fmla="*/ 548 h 961"/>
                <a:gd name="T68" fmla="*/ 1123 w 1806"/>
                <a:gd name="T69" fmla="*/ 451 h 961"/>
                <a:gd name="T70" fmla="*/ 1123 w 1806"/>
                <a:gd name="T71" fmla="*/ 560 h 961"/>
                <a:gd name="T72" fmla="*/ 1160 w 1806"/>
                <a:gd name="T73" fmla="*/ 522 h 961"/>
                <a:gd name="T74" fmla="*/ 1167 w 1806"/>
                <a:gd name="T75" fmla="*/ 512 h 961"/>
                <a:gd name="T76" fmla="*/ 1167 w 1806"/>
                <a:gd name="T77" fmla="*/ 414 h 961"/>
                <a:gd name="T78" fmla="*/ 1311 w 1806"/>
                <a:gd name="T79" fmla="*/ 112 h 961"/>
                <a:gd name="T80" fmla="*/ 1380 w 1806"/>
                <a:gd name="T81" fmla="*/ 3 h 961"/>
                <a:gd name="T82" fmla="*/ 1380 w 1806"/>
                <a:gd name="T83" fmla="*/ 0 h 961"/>
                <a:gd name="T84" fmla="*/ 1329 w 1806"/>
                <a:gd name="T85" fmla="*/ 24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6" h="961">
                  <a:moveTo>
                    <a:pt x="26" y="961"/>
                  </a:moveTo>
                  <a:cubicBezTo>
                    <a:pt x="10" y="961"/>
                    <a:pt x="0" y="945"/>
                    <a:pt x="5" y="931"/>
                  </a:cubicBezTo>
                  <a:cubicBezTo>
                    <a:pt x="33" y="857"/>
                    <a:pt x="113" y="664"/>
                    <a:pt x="223" y="614"/>
                  </a:cubicBezTo>
                  <a:cubicBezTo>
                    <a:pt x="344" y="557"/>
                    <a:pt x="558" y="549"/>
                    <a:pt x="602" y="548"/>
                  </a:cubicBezTo>
                  <a:cubicBezTo>
                    <a:pt x="607" y="548"/>
                    <a:pt x="611" y="551"/>
                    <a:pt x="612" y="555"/>
                  </a:cubicBezTo>
                  <a:cubicBezTo>
                    <a:pt x="703" y="948"/>
                    <a:pt x="703" y="948"/>
                    <a:pt x="703" y="948"/>
                  </a:cubicBezTo>
                  <a:cubicBezTo>
                    <a:pt x="704" y="955"/>
                    <a:pt x="700" y="961"/>
                    <a:pt x="693" y="961"/>
                  </a:cubicBezTo>
                  <a:lnTo>
                    <a:pt x="26" y="961"/>
                  </a:lnTo>
                  <a:close/>
                  <a:moveTo>
                    <a:pt x="1780" y="961"/>
                  </a:moveTo>
                  <a:cubicBezTo>
                    <a:pt x="1796" y="961"/>
                    <a:pt x="1806" y="945"/>
                    <a:pt x="1801" y="931"/>
                  </a:cubicBezTo>
                  <a:cubicBezTo>
                    <a:pt x="1773" y="857"/>
                    <a:pt x="1693" y="664"/>
                    <a:pt x="1583" y="614"/>
                  </a:cubicBezTo>
                  <a:cubicBezTo>
                    <a:pt x="1462" y="557"/>
                    <a:pt x="1248" y="549"/>
                    <a:pt x="1204" y="548"/>
                  </a:cubicBezTo>
                  <a:cubicBezTo>
                    <a:pt x="1199" y="548"/>
                    <a:pt x="1195" y="551"/>
                    <a:pt x="1194" y="555"/>
                  </a:cubicBezTo>
                  <a:cubicBezTo>
                    <a:pt x="1103" y="948"/>
                    <a:pt x="1103" y="948"/>
                    <a:pt x="1103" y="948"/>
                  </a:cubicBezTo>
                  <a:cubicBezTo>
                    <a:pt x="1102" y="955"/>
                    <a:pt x="1106" y="961"/>
                    <a:pt x="1113" y="961"/>
                  </a:cubicBezTo>
                  <a:lnTo>
                    <a:pt x="1780" y="961"/>
                  </a:lnTo>
                  <a:close/>
                  <a:moveTo>
                    <a:pt x="1329" y="24"/>
                  </a:moveTo>
                  <a:cubicBezTo>
                    <a:pt x="1322" y="43"/>
                    <a:pt x="1308" y="65"/>
                    <a:pt x="1283" y="77"/>
                  </a:cubicBezTo>
                  <a:cubicBezTo>
                    <a:pt x="1278" y="80"/>
                    <a:pt x="1274" y="84"/>
                    <a:pt x="1273" y="89"/>
                  </a:cubicBezTo>
                  <a:cubicBezTo>
                    <a:pt x="1232" y="192"/>
                    <a:pt x="1157" y="365"/>
                    <a:pt x="1129" y="391"/>
                  </a:cubicBezTo>
                  <a:cubicBezTo>
                    <a:pt x="1084" y="430"/>
                    <a:pt x="968" y="504"/>
                    <a:pt x="903" y="504"/>
                  </a:cubicBezTo>
                  <a:cubicBezTo>
                    <a:pt x="838" y="504"/>
                    <a:pt x="722" y="430"/>
                    <a:pt x="677" y="391"/>
                  </a:cubicBezTo>
                  <a:cubicBezTo>
                    <a:pt x="649" y="365"/>
                    <a:pt x="574" y="192"/>
                    <a:pt x="533" y="89"/>
                  </a:cubicBezTo>
                  <a:cubicBezTo>
                    <a:pt x="532" y="84"/>
                    <a:pt x="528" y="80"/>
                    <a:pt x="523" y="77"/>
                  </a:cubicBezTo>
                  <a:cubicBezTo>
                    <a:pt x="498" y="65"/>
                    <a:pt x="484" y="43"/>
                    <a:pt x="477" y="24"/>
                  </a:cubicBezTo>
                  <a:cubicBezTo>
                    <a:pt x="426" y="0"/>
                    <a:pt x="426" y="0"/>
                    <a:pt x="426" y="0"/>
                  </a:cubicBezTo>
                  <a:cubicBezTo>
                    <a:pt x="426" y="2"/>
                    <a:pt x="426" y="4"/>
                    <a:pt x="426" y="5"/>
                  </a:cubicBezTo>
                  <a:cubicBezTo>
                    <a:pt x="431" y="33"/>
                    <a:pt x="446" y="83"/>
                    <a:pt x="495" y="112"/>
                  </a:cubicBezTo>
                  <a:cubicBezTo>
                    <a:pt x="517" y="168"/>
                    <a:pt x="594" y="359"/>
                    <a:pt x="639" y="414"/>
                  </a:cubicBezTo>
                  <a:cubicBezTo>
                    <a:pt x="639" y="512"/>
                    <a:pt x="639" y="512"/>
                    <a:pt x="639" y="512"/>
                  </a:cubicBezTo>
                  <a:cubicBezTo>
                    <a:pt x="646" y="522"/>
                    <a:pt x="646" y="522"/>
                    <a:pt x="646" y="522"/>
                  </a:cubicBezTo>
                  <a:cubicBezTo>
                    <a:pt x="648" y="524"/>
                    <a:pt x="660" y="540"/>
                    <a:pt x="683" y="560"/>
                  </a:cubicBezTo>
                  <a:cubicBezTo>
                    <a:pt x="683" y="451"/>
                    <a:pt x="683" y="451"/>
                    <a:pt x="683" y="451"/>
                  </a:cubicBezTo>
                  <a:cubicBezTo>
                    <a:pt x="742" y="494"/>
                    <a:pt x="838" y="548"/>
                    <a:pt x="903" y="548"/>
                  </a:cubicBezTo>
                  <a:cubicBezTo>
                    <a:pt x="968" y="548"/>
                    <a:pt x="1064" y="494"/>
                    <a:pt x="1123" y="451"/>
                  </a:cubicBezTo>
                  <a:cubicBezTo>
                    <a:pt x="1123" y="560"/>
                    <a:pt x="1123" y="560"/>
                    <a:pt x="1123" y="560"/>
                  </a:cubicBezTo>
                  <a:cubicBezTo>
                    <a:pt x="1146" y="540"/>
                    <a:pt x="1158" y="524"/>
                    <a:pt x="1160" y="522"/>
                  </a:cubicBezTo>
                  <a:cubicBezTo>
                    <a:pt x="1167" y="512"/>
                    <a:pt x="1167" y="512"/>
                    <a:pt x="1167" y="512"/>
                  </a:cubicBezTo>
                  <a:cubicBezTo>
                    <a:pt x="1167" y="414"/>
                    <a:pt x="1167" y="414"/>
                    <a:pt x="1167" y="414"/>
                  </a:cubicBezTo>
                  <a:cubicBezTo>
                    <a:pt x="1212" y="358"/>
                    <a:pt x="1289" y="168"/>
                    <a:pt x="1311" y="112"/>
                  </a:cubicBezTo>
                  <a:cubicBezTo>
                    <a:pt x="1363" y="82"/>
                    <a:pt x="1377" y="26"/>
                    <a:pt x="1380" y="3"/>
                  </a:cubicBezTo>
                  <a:cubicBezTo>
                    <a:pt x="1380" y="2"/>
                    <a:pt x="1380" y="1"/>
                    <a:pt x="1380" y="0"/>
                  </a:cubicBezTo>
                  <a:lnTo>
                    <a:pt x="1329" y="2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 name="Group 24">
            <a:extLst>
              <a:ext uri="{FF2B5EF4-FFF2-40B4-BE49-F238E27FC236}">
                <a16:creationId xmlns:a16="http://schemas.microsoft.com/office/drawing/2014/main" id="{9F33C1BD-FA75-4074-AEF8-5BB29750B4EC}"/>
              </a:ext>
            </a:extLst>
          </p:cNvPr>
          <p:cNvGrpSpPr>
            <a:grpSpLocks noChangeAspect="1"/>
          </p:cNvGrpSpPr>
          <p:nvPr/>
        </p:nvGrpSpPr>
        <p:grpSpPr bwMode="auto">
          <a:xfrm>
            <a:off x="1165418" y="1933898"/>
            <a:ext cx="2532068" cy="2534414"/>
            <a:chOff x="1682" y="0"/>
            <a:chExt cx="4316" cy="4320"/>
          </a:xfrm>
        </p:grpSpPr>
        <p:sp>
          <p:nvSpPr>
            <p:cNvPr id="12" name="AutoShape 23">
              <a:extLst>
                <a:ext uri="{FF2B5EF4-FFF2-40B4-BE49-F238E27FC236}">
                  <a16:creationId xmlns:a16="http://schemas.microsoft.com/office/drawing/2014/main" id="{0E781B1C-CACF-4D5F-9A02-390B1665A0E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5">
              <a:extLst>
                <a:ext uri="{FF2B5EF4-FFF2-40B4-BE49-F238E27FC236}">
                  <a16:creationId xmlns:a16="http://schemas.microsoft.com/office/drawing/2014/main" id="{8CA3575B-9775-4A68-9309-AD21239CD7B1}"/>
                </a:ext>
              </a:extLst>
            </p:cNvPr>
            <p:cNvSpPr>
              <a:spLocks noEditPoints="1"/>
            </p:cNvSpPr>
            <p:nvPr/>
          </p:nvSpPr>
          <p:spPr bwMode="auto">
            <a:xfrm>
              <a:off x="2150" y="1783"/>
              <a:ext cx="3383" cy="1890"/>
            </a:xfrm>
            <a:custGeom>
              <a:avLst/>
              <a:gdLst>
                <a:gd name="T0" fmla="*/ 1151 w 1806"/>
                <a:gd name="T1" fmla="*/ 432 h 1008"/>
                <a:gd name="T2" fmla="*/ 1151 w 1806"/>
                <a:gd name="T3" fmla="*/ 562 h 1008"/>
                <a:gd name="T4" fmla="*/ 1107 w 1806"/>
                <a:gd name="T5" fmla="*/ 576 h 1008"/>
                <a:gd name="T6" fmla="*/ 1107 w 1806"/>
                <a:gd name="T7" fmla="*/ 468 h 1008"/>
                <a:gd name="T8" fmla="*/ 902 w 1806"/>
                <a:gd name="T9" fmla="*/ 557 h 1008"/>
                <a:gd name="T10" fmla="*/ 699 w 1806"/>
                <a:gd name="T11" fmla="*/ 470 h 1008"/>
                <a:gd name="T12" fmla="*/ 699 w 1806"/>
                <a:gd name="T13" fmla="*/ 576 h 1008"/>
                <a:gd name="T14" fmla="*/ 655 w 1806"/>
                <a:gd name="T15" fmla="*/ 562 h 1008"/>
                <a:gd name="T16" fmla="*/ 655 w 1806"/>
                <a:gd name="T17" fmla="*/ 435 h 1008"/>
                <a:gd name="T18" fmla="*/ 516 w 1806"/>
                <a:gd name="T19" fmla="*/ 146 h 1008"/>
                <a:gd name="T20" fmla="*/ 448 w 1806"/>
                <a:gd name="T21" fmla="*/ 6 h 1008"/>
                <a:gd name="T22" fmla="*/ 449 w 1806"/>
                <a:gd name="T23" fmla="*/ 0 h 1008"/>
                <a:gd name="T24" fmla="*/ 460 w 1806"/>
                <a:gd name="T25" fmla="*/ 22 h 1008"/>
                <a:gd name="T26" fmla="*/ 495 w 1806"/>
                <a:gd name="T27" fmla="*/ 37 h 1008"/>
                <a:gd name="T28" fmla="*/ 540 w 1806"/>
                <a:gd name="T29" fmla="*/ 109 h 1008"/>
                <a:gd name="T30" fmla="*/ 553 w 1806"/>
                <a:gd name="T31" fmla="*/ 122 h 1008"/>
                <a:gd name="T32" fmla="*/ 689 w 1806"/>
                <a:gd name="T33" fmla="*/ 407 h 1008"/>
                <a:gd name="T34" fmla="*/ 699 w 1806"/>
                <a:gd name="T35" fmla="*/ 415 h 1008"/>
                <a:gd name="T36" fmla="*/ 699 w 1806"/>
                <a:gd name="T37" fmla="*/ 415 h 1008"/>
                <a:gd name="T38" fmla="*/ 699 w 1806"/>
                <a:gd name="T39" fmla="*/ 415 h 1008"/>
                <a:gd name="T40" fmla="*/ 902 w 1806"/>
                <a:gd name="T41" fmla="*/ 513 h 1008"/>
                <a:gd name="T42" fmla="*/ 1114 w 1806"/>
                <a:gd name="T43" fmla="*/ 407 h 1008"/>
                <a:gd name="T44" fmla="*/ 1250 w 1806"/>
                <a:gd name="T45" fmla="*/ 122 h 1008"/>
                <a:gd name="T46" fmla="*/ 1260 w 1806"/>
                <a:gd name="T47" fmla="*/ 110 h 1008"/>
                <a:gd name="T48" fmla="*/ 1297 w 1806"/>
                <a:gd name="T49" fmla="*/ 74 h 1008"/>
                <a:gd name="T50" fmla="*/ 1350 w 1806"/>
                <a:gd name="T51" fmla="*/ 57 h 1008"/>
                <a:gd name="T52" fmla="*/ 1288 w 1806"/>
                <a:gd name="T53" fmla="*/ 145 h 1008"/>
                <a:gd name="T54" fmla="*/ 1151 w 1806"/>
                <a:gd name="T55" fmla="*/ 432 h 1008"/>
                <a:gd name="T56" fmla="*/ 903 w 1806"/>
                <a:gd name="T57" fmla="*/ 801 h 1008"/>
                <a:gd name="T58" fmla="*/ 919 w 1806"/>
                <a:gd name="T59" fmla="*/ 804 h 1008"/>
                <a:gd name="T60" fmla="*/ 1016 w 1806"/>
                <a:gd name="T61" fmla="*/ 726 h 1008"/>
                <a:gd name="T62" fmla="*/ 993 w 1806"/>
                <a:gd name="T63" fmla="*/ 726 h 1008"/>
                <a:gd name="T64" fmla="*/ 908 w 1806"/>
                <a:gd name="T65" fmla="*/ 731 h 1008"/>
                <a:gd name="T66" fmla="*/ 898 w 1806"/>
                <a:gd name="T67" fmla="*/ 731 h 1008"/>
                <a:gd name="T68" fmla="*/ 813 w 1806"/>
                <a:gd name="T69" fmla="*/ 726 h 1008"/>
                <a:gd name="T70" fmla="*/ 790 w 1806"/>
                <a:gd name="T71" fmla="*/ 726 h 1008"/>
                <a:gd name="T72" fmla="*/ 887 w 1806"/>
                <a:gd name="T73" fmla="*/ 804 h 1008"/>
                <a:gd name="T74" fmla="*/ 903 w 1806"/>
                <a:gd name="T75" fmla="*/ 801 h 1008"/>
                <a:gd name="T76" fmla="*/ 1801 w 1806"/>
                <a:gd name="T77" fmla="*/ 978 h 1008"/>
                <a:gd name="T78" fmla="*/ 1583 w 1806"/>
                <a:gd name="T79" fmla="*/ 661 h 1008"/>
                <a:gd name="T80" fmla="*/ 1255 w 1806"/>
                <a:gd name="T81" fmla="*/ 597 h 1008"/>
                <a:gd name="T82" fmla="*/ 1302 w 1806"/>
                <a:gd name="T83" fmla="*/ 751 h 1008"/>
                <a:gd name="T84" fmla="*/ 1248 w 1806"/>
                <a:gd name="T85" fmla="*/ 802 h 1008"/>
                <a:gd name="T86" fmla="*/ 1210 w 1806"/>
                <a:gd name="T87" fmla="*/ 787 h 1008"/>
                <a:gd name="T88" fmla="*/ 1080 w 1806"/>
                <a:gd name="T89" fmla="*/ 732 h 1008"/>
                <a:gd name="T90" fmla="*/ 951 w 1806"/>
                <a:gd name="T91" fmla="*/ 835 h 1008"/>
                <a:gd name="T92" fmla="*/ 954 w 1806"/>
                <a:gd name="T93" fmla="*/ 852 h 1008"/>
                <a:gd name="T94" fmla="*/ 954 w 1806"/>
                <a:gd name="T95" fmla="*/ 962 h 1008"/>
                <a:gd name="T96" fmla="*/ 903 w 1806"/>
                <a:gd name="T97" fmla="*/ 962 h 1008"/>
                <a:gd name="T98" fmla="*/ 903 w 1806"/>
                <a:gd name="T99" fmla="*/ 903 h 1008"/>
                <a:gd name="T100" fmla="*/ 852 w 1806"/>
                <a:gd name="T101" fmla="*/ 852 h 1008"/>
                <a:gd name="T102" fmla="*/ 855 w 1806"/>
                <a:gd name="T103" fmla="*/ 835 h 1008"/>
                <a:gd name="T104" fmla="*/ 726 w 1806"/>
                <a:gd name="T105" fmla="*/ 732 h 1008"/>
                <a:gd name="T106" fmla="*/ 596 w 1806"/>
                <a:gd name="T107" fmla="*/ 787 h 1008"/>
                <a:gd name="T108" fmla="*/ 558 w 1806"/>
                <a:gd name="T109" fmla="*/ 802 h 1008"/>
                <a:gd name="T110" fmla="*/ 558 w 1806"/>
                <a:gd name="T111" fmla="*/ 802 h 1008"/>
                <a:gd name="T112" fmla="*/ 504 w 1806"/>
                <a:gd name="T113" fmla="*/ 751 h 1008"/>
                <a:gd name="T114" fmla="*/ 551 w 1806"/>
                <a:gd name="T115" fmla="*/ 597 h 1008"/>
                <a:gd name="T116" fmla="*/ 223 w 1806"/>
                <a:gd name="T117" fmla="*/ 661 h 1008"/>
                <a:gd name="T118" fmla="*/ 5 w 1806"/>
                <a:gd name="T119" fmla="*/ 978 h 1008"/>
                <a:gd name="T120" fmla="*/ 26 w 1806"/>
                <a:gd name="T121" fmla="*/ 1008 h 1008"/>
                <a:gd name="T122" fmla="*/ 1780 w 1806"/>
                <a:gd name="T123" fmla="*/ 1008 h 1008"/>
                <a:gd name="T124" fmla="*/ 1801 w 1806"/>
                <a:gd name="T125" fmla="*/ 97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6" h="1008">
                  <a:moveTo>
                    <a:pt x="1151" y="432"/>
                  </a:moveTo>
                  <a:cubicBezTo>
                    <a:pt x="1151" y="562"/>
                    <a:pt x="1151" y="562"/>
                    <a:pt x="1151" y="562"/>
                  </a:cubicBezTo>
                  <a:cubicBezTo>
                    <a:pt x="1107" y="576"/>
                    <a:pt x="1107" y="576"/>
                    <a:pt x="1107" y="576"/>
                  </a:cubicBezTo>
                  <a:cubicBezTo>
                    <a:pt x="1107" y="468"/>
                    <a:pt x="1107" y="468"/>
                    <a:pt x="1107" y="468"/>
                  </a:cubicBezTo>
                  <a:cubicBezTo>
                    <a:pt x="1050" y="508"/>
                    <a:pt x="962" y="557"/>
                    <a:pt x="902" y="557"/>
                  </a:cubicBezTo>
                  <a:cubicBezTo>
                    <a:pt x="842" y="557"/>
                    <a:pt x="756" y="510"/>
                    <a:pt x="699" y="470"/>
                  </a:cubicBezTo>
                  <a:cubicBezTo>
                    <a:pt x="699" y="576"/>
                    <a:pt x="699" y="576"/>
                    <a:pt x="699" y="576"/>
                  </a:cubicBezTo>
                  <a:cubicBezTo>
                    <a:pt x="655" y="562"/>
                    <a:pt x="655" y="562"/>
                    <a:pt x="655" y="562"/>
                  </a:cubicBezTo>
                  <a:cubicBezTo>
                    <a:pt x="655" y="435"/>
                    <a:pt x="655" y="435"/>
                    <a:pt x="655" y="435"/>
                  </a:cubicBezTo>
                  <a:cubicBezTo>
                    <a:pt x="613" y="389"/>
                    <a:pt x="538" y="203"/>
                    <a:pt x="516" y="146"/>
                  </a:cubicBezTo>
                  <a:cubicBezTo>
                    <a:pt x="459" y="118"/>
                    <a:pt x="447" y="34"/>
                    <a:pt x="448" y="6"/>
                  </a:cubicBezTo>
                  <a:cubicBezTo>
                    <a:pt x="448" y="4"/>
                    <a:pt x="448" y="2"/>
                    <a:pt x="449" y="0"/>
                  </a:cubicBezTo>
                  <a:cubicBezTo>
                    <a:pt x="452" y="7"/>
                    <a:pt x="456" y="15"/>
                    <a:pt x="460" y="22"/>
                  </a:cubicBezTo>
                  <a:cubicBezTo>
                    <a:pt x="471" y="35"/>
                    <a:pt x="485" y="37"/>
                    <a:pt x="495" y="37"/>
                  </a:cubicBezTo>
                  <a:cubicBezTo>
                    <a:pt x="501" y="65"/>
                    <a:pt x="514" y="99"/>
                    <a:pt x="540" y="109"/>
                  </a:cubicBezTo>
                  <a:cubicBezTo>
                    <a:pt x="546" y="111"/>
                    <a:pt x="551" y="116"/>
                    <a:pt x="553" y="122"/>
                  </a:cubicBezTo>
                  <a:cubicBezTo>
                    <a:pt x="592" y="219"/>
                    <a:pt x="662" y="383"/>
                    <a:pt x="689" y="407"/>
                  </a:cubicBezTo>
                  <a:cubicBezTo>
                    <a:pt x="692" y="409"/>
                    <a:pt x="695" y="412"/>
                    <a:pt x="699" y="415"/>
                  </a:cubicBezTo>
                  <a:cubicBezTo>
                    <a:pt x="699" y="415"/>
                    <a:pt x="699" y="415"/>
                    <a:pt x="699" y="415"/>
                  </a:cubicBezTo>
                  <a:cubicBezTo>
                    <a:pt x="699" y="415"/>
                    <a:pt x="699" y="415"/>
                    <a:pt x="699" y="415"/>
                  </a:cubicBezTo>
                  <a:cubicBezTo>
                    <a:pt x="746" y="453"/>
                    <a:pt x="846" y="513"/>
                    <a:pt x="902" y="513"/>
                  </a:cubicBezTo>
                  <a:cubicBezTo>
                    <a:pt x="961" y="513"/>
                    <a:pt x="1073" y="443"/>
                    <a:pt x="1114" y="407"/>
                  </a:cubicBezTo>
                  <a:cubicBezTo>
                    <a:pt x="1141" y="383"/>
                    <a:pt x="1212" y="219"/>
                    <a:pt x="1250" y="122"/>
                  </a:cubicBezTo>
                  <a:cubicBezTo>
                    <a:pt x="1252" y="117"/>
                    <a:pt x="1255" y="113"/>
                    <a:pt x="1260" y="110"/>
                  </a:cubicBezTo>
                  <a:cubicBezTo>
                    <a:pt x="1278" y="101"/>
                    <a:pt x="1290" y="88"/>
                    <a:pt x="1297" y="74"/>
                  </a:cubicBezTo>
                  <a:cubicBezTo>
                    <a:pt x="1316" y="71"/>
                    <a:pt x="1334" y="64"/>
                    <a:pt x="1350" y="57"/>
                  </a:cubicBezTo>
                  <a:cubicBezTo>
                    <a:pt x="1344" y="82"/>
                    <a:pt x="1328" y="121"/>
                    <a:pt x="1288" y="145"/>
                  </a:cubicBezTo>
                  <a:cubicBezTo>
                    <a:pt x="1267" y="199"/>
                    <a:pt x="1193" y="381"/>
                    <a:pt x="1151" y="432"/>
                  </a:cubicBezTo>
                  <a:close/>
                  <a:moveTo>
                    <a:pt x="903" y="801"/>
                  </a:moveTo>
                  <a:cubicBezTo>
                    <a:pt x="909" y="801"/>
                    <a:pt x="914" y="802"/>
                    <a:pt x="919" y="804"/>
                  </a:cubicBezTo>
                  <a:cubicBezTo>
                    <a:pt x="1016" y="726"/>
                    <a:pt x="1016" y="726"/>
                    <a:pt x="1016" y="726"/>
                  </a:cubicBezTo>
                  <a:cubicBezTo>
                    <a:pt x="1009" y="726"/>
                    <a:pt x="1001" y="726"/>
                    <a:pt x="993" y="726"/>
                  </a:cubicBezTo>
                  <a:cubicBezTo>
                    <a:pt x="966" y="726"/>
                    <a:pt x="938" y="728"/>
                    <a:pt x="908" y="731"/>
                  </a:cubicBezTo>
                  <a:cubicBezTo>
                    <a:pt x="898" y="731"/>
                    <a:pt x="898" y="731"/>
                    <a:pt x="898" y="731"/>
                  </a:cubicBezTo>
                  <a:cubicBezTo>
                    <a:pt x="868" y="728"/>
                    <a:pt x="840" y="726"/>
                    <a:pt x="813" y="726"/>
                  </a:cubicBezTo>
                  <a:cubicBezTo>
                    <a:pt x="805" y="726"/>
                    <a:pt x="797" y="726"/>
                    <a:pt x="790" y="726"/>
                  </a:cubicBezTo>
                  <a:cubicBezTo>
                    <a:pt x="887" y="804"/>
                    <a:pt x="887" y="804"/>
                    <a:pt x="887" y="804"/>
                  </a:cubicBezTo>
                  <a:cubicBezTo>
                    <a:pt x="892" y="802"/>
                    <a:pt x="897" y="801"/>
                    <a:pt x="903" y="801"/>
                  </a:cubicBezTo>
                  <a:close/>
                  <a:moveTo>
                    <a:pt x="1801" y="978"/>
                  </a:moveTo>
                  <a:cubicBezTo>
                    <a:pt x="1773" y="904"/>
                    <a:pt x="1693" y="711"/>
                    <a:pt x="1583" y="661"/>
                  </a:cubicBezTo>
                  <a:cubicBezTo>
                    <a:pt x="1489" y="617"/>
                    <a:pt x="1338" y="602"/>
                    <a:pt x="1255" y="597"/>
                  </a:cubicBezTo>
                  <a:cubicBezTo>
                    <a:pt x="1279" y="629"/>
                    <a:pt x="1305" y="682"/>
                    <a:pt x="1302" y="751"/>
                  </a:cubicBezTo>
                  <a:cubicBezTo>
                    <a:pt x="1300" y="779"/>
                    <a:pt x="1276" y="802"/>
                    <a:pt x="1248" y="802"/>
                  </a:cubicBezTo>
                  <a:cubicBezTo>
                    <a:pt x="1234" y="802"/>
                    <a:pt x="1220" y="796"/>
                    <a:pt x="1210" y="787"/>
                  </a:cubicBezTo>
                  <a:cubicBezTo>
                    <a:pt x="1196" y="773"/>
                    <a:pt x="1158" y="745"/>
                    <a:pt x="1080" y="732"/>
                  </a:cubicBezTo>
                  <a:cubicBezTo>
                    <a:pt x="951" y="835"/>
                    <a:pt x="951" y="835"/>
                    <a:pt x="951" y="835"/>
                  </a:cubicBezTo>
                  <a:cubicBezTo>
                    <a:pt x="953" y="840"/>
                    <a:pt x="954" y="846"/>
                    <a:pt x="954" y="852"/>
                  </a:cubicBezTo>
                  <a:cubicBezTo>
                    <a:pt x="954" y="962"/>
                    <a:pt x="954" y="962"/>
                    <a:pt x="954" y="962"/>
                  </a:cubicBezTo>
                  <a:cubicBezTo>
                    <a:pt x="903" y="962"/>
                    <a:pt x="903" y="962"/>
                    <a:pt x="903" y="962"/>
                  </a:cubicBezTo>
                  <a:cubicBezTo>
                    <a:pt x="903" y="903"/>
                    <a:pt x="903" y="903"/>
                    <a:pt x="903" y="903"/>
                  </a:cubicBezTo>
                  <a:cubicBezTo>
                    <a:pt x="875" y="903"/>
                    <a:pt x="852" y="880"/>
                    <a:pt x="852" y="852"/>
                  </a:cubicBezTo>
                  <a:cubicBezTo>
                    <a:pt x="852" y="846"/>
                    <a:pt x="853" y="840"/>
                    <a:pt x="855" y="835"/>
                  </a:cubicBezTo>
                  <a:cubicBezTo>
                    <a:pt x="726" y="732"/>
                    <a:pt x="726" y="732"/>
                    <a:pt x="726" y="732"/>
                  </a:cubicBezTo>
                  <a:cubicBezTo>
                    <a:pt x="648" y="745"/>
                    <a:pt x="610" y="773"/>
                    <a:pt x="596" y="787"/>
                  </a:cubicBezTo>
                  <a:cubicBezTo>
                    <a:pt x="586" y="796"/>
                    <a:pt x="572" y="802"/>
                    <a:pt x="558" y="802"/>
                  </a:cubicBezTo>
                  <a:cubicBezTo>
                    <a:pt x="558" y="802"/>
                    <a:pt x="558" y="802"/>
                    <a:pt x="558" y="802"/>
                  </a:cubicBezTo>
                  <a:cubicBezTo>
                    <a:pt x="530" y="802"/>
                    <a:pt x="506" y="779"/>
                    <a:pt x="504" y="751"/>
                  </a:cubicBezTo>
                  <a:cubicBezTo>
                    <a:pt x="501" y="682"/>
                    <a:pt x="527" y="629"/>
                    <a:pt x="551" y="597"/>
                  </a:cubicBezTo>
                  <a:cubicBezTo>
                    <a:pt x="468" y="602"/>
                    <a:pt x="317" y="617"/>
                    <a:pt x="223" y="661"/>
                  </a:cubicBezTo>
                  <a:cubicBezTo>
                    <a:pt x="113" y="711"/>
                    <a:pt x="33" y="904"/>
                    <a:pt x="5" y="978"/>
                  </a:cubicBezTo>
                  <a:cubicBezTo>
                    <a:pt x="0" y="992"/>
                    <a:pt x="10" y="1008"/>
                    <a:pt x="26" y="1008"/>
                  </a:cubicBezTo>
                  <a:cubicBezTo>
                    <a:pt x="1780" y="1008"/>
                    <a:pt x="1780" y="1008"/>
                    <a:pt x="1780" y="1008"/>
                  </a:cubicBezTo>
                  <a:cubicBezTo>
                    <a:pt x="1796" y="1008"/>
                    <a:pt x="1806" y="992"/>
                    <a:pt x="1801" y="97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26">
              <a:extLst>
                <a:ext uri="{FF2B5EF4-FFF2-40B4-BE49-F238E27FC236}">
                  <a16:creationId xmlns:a16="http://schemas.microsoft.com/office/drawing/2014/main" id="{65471CFD-6739-4E7F-9F75-E7CF1E3B16D4}"/>
                </a:ext>
              </a:extLst>
            </p:cNvPr>
            <p:cNvSpPr>
              <a:spLocks noEditPoints="1"/>
            </p:cNvSpPr>
            <p:nvPr/>
          </p:nvSpPr>
          <p:spPr bwMode="auto">
            <a:xfrm>
              <a:off x="3020" y="566"/>
              <a:ext cx="1727" cy="2644"/>
            </a:xfrm>
            <a:custGeom>
              <a:avLst/>
              <a:gdLst>
                <a:gd name="T0" fmla="*/ 890 w 922"/>
                <a:gd name="T1" fmla="*/ 537 h 1410"/>
                <a:gd name="T2" fmla="*/ 922 w 922"/>
                <a:gd name="T3" fmla="*/ 635 h 1410"/>
                <a:gd name="T4" fmla="*/ 786 w 922"/>
                <a:gd name="T5" fmla="*/ 675 h 1410"/>
                <a:gd name="T6" fmla="*/ 244 w 922"/>
                <a:gd name="T7" fmla="*/ 354 h 1410"/>
                <a:gd name="T8" fmla="*/ 201 w 922"/>
                <a:gd name="T9" fmla="*/ 380 h 1410"/>
                <a:gd name="T10" fmla="*/ 25 w 922"/>
                <a:gd name="T11" fmla="*/ 638 h 1410"/>
                <a:gd name="T12" fmla="*/ 0 w 922"/>
                <a:gd name="T13" fmla="*/ 452 h 1410"/>
                <a:gd name="T14" fmla="*/ 446 w 922"/>
                <a:gd name="T15" fmla="*/ 0 h 1410"/>
                <a:gd name="T16" fmla="*/ 892 w 922"/>
                <a:gd name="T17" fmla="*/ 452 h 1410"/>
                <a:gd name="T18" fmla="*/ 890 w 922"/>
                <a:gd name="T19" fmla="*/ 537 h 1410"/>
                <a:gd name="T20" fmla="*/ 439 w 922"/>
                <a:gd name="T21" fmla="*/ 1336 h 1410"/>
                <a:gd name="T22" fmla="*/ 147 w 922"/>
                <a:gd name="T23" fmla="*/ 1244 h 1410"/>
                <a:gd name="T24" fmla="*/ 84 w 922"/>
                <a:gd name="T25" fmla="*/ 1397 h 1410"/>
                <a:gd name="T26" fmla="*/ 101 w 922"/>
                <a:gd name="T27" fmla="*/ 1404 h 1410"/>
                <a:gd name="T28" fmla="*/ 439 w 922"/>
                <a:gd name="T29" fmla="*/ 1336 h 1410"/>
                <a:gd name="T30" fmla="*/ 777 w 922"/>
                <a:gd name="T31" fmla="*/ 1404 h 1410"/>
                <a:gd name="T32" fmla="*/ 794 w 922"/>
                <a:gd name="T33" fmla="*/ 1397 h 1410"/>
                <a:gd name="T34" fmla="*/ 731 w 922"/>
                <a:gd name="T35" fmla="*/ 1244 h 1410"/>
                <a:gd name="T36" fmla="*/ 439 w 922"/>
                <a:gd name="T37" fmla="*/ 1336 h 1410"/>
                <a:gd name="T38" fmla="*/ 777 w 922"/>
                <a:gd name="T39" fmla="*/ 1404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2" h="1410">
                  <a:moveTo>
                    <a:pt x="890" y="537"/>
                  </a:moveTo>
                  <a:cubicBezTo>
                    <a:pt x="888" y="561"/>
                    <a:pt x="896" y="597"/>
                    <a:pt x="922" y="635"/>
                  </a:cubicBezTo>
                  <a:cubicBezTo>
                    <a:pt x="922" y="635"/>
                    <a:pt x="830" y="700"/>
                    <a:pt x="786" y="675"/>
                  </a:cubicBezTo>
                  <a:cubicBezTo>
                    <a:pt x="735" y="647"/>
                    <a:pt x="523" y="353"/>
                    <a:pt x="244" y="354"/>
                  </a:cubicBezTo>
                  <a:cubicBezTo>
                    <a:pt x="244" y="354"/>
                    <a:pt x="214" y="371"/>
                    <a:pt x="201" y="380"/>
                  </a:cubicBezTo>
                  <a:cubicBezTo>
                    <a:pt x="75" y="465"/>
                    <a:pt x="69" y="677"/>
                    <a:pt x="25" y="638"/>
                  </a:cubicBezTo>
                  <a:cubicBezTo>
                    <a:pt x="9" y="618"/>
                    <a:pt x="0" y="507"/>
                    <a:pt x="0" y="452"/>
                  </a:cubicBezTo>
                  <a:cubicBezTo>
                    <a:pt x="0" y="202"/>
                    <a:pt x="194" y="0"/>
                    <a:pt x="446" y="0"/>
                  </a:cubicBezTo>
                  <a:cubicBezTo>
                    <a:pt x="699" y="0"/>
                    <a:pt x="892" y="202"/>
                    <a:pt x="892" y="452"/>
                  </a:cubicBezTo>
                  <a:cubicBezTo>
                    <a:pt x="892" y="481"/>
                    <a:pt x="893" y="510"/>
                    <a:pt x="890" y="537"/>
                  </a:cubicBezTo>
                  <a:close/>
                  <a:moveTo>
                    <a:pt x="439" y="1336"/>
                  </a:moveTo>
                  <a:cubicBezTo>
                    <a:pt x="147" y="1244"/>
                    <a:pt x="147" y="1244"/>
                    <a:pt x="147" y="1244"/>
                  </a:cubicBezTo>
                  <a:cubicBezTo>
                    <a:pt x="147" y="1244"/>
                    <a:pt x="79" y="1302"/>
                    <a:pt x="84" y="1397"/>
                  </a:cubicBezTo>
                  <a:cubicBezTo>
                    <a:pt x="85" y="1406"/>
                    <a:pt x="95" y="1410"/>
                    <a:pt x="101" y="1404"/>
                  </a:cubicBezTo>
                  <a:cubicBezTo>
                    <a:pt x="133" y="1373"/>
                    <a:pt x="224" y="1313"/>
                    <a:pt x="439" y="1336"/>
                  </a:cubicBezTo>
                  <a:close/>
                  <a:moveTo>
                    <a:pt x="777" y="1404"/>
                  </a:moveTo>
                  <a:cubicBezTo>
                    <a:pt x="783" y="1410"/>
                    <a:pt x="793" y="1406"/>
                    <a:pt x="794" y="1397"/>
                  </a:cubicBezTo>
                  <a:cubicBezTo>
                    <a:pt x="799" y="1302"/>
                    <a:pt x="731" y="1244"/>
                    <a:pt x="731" y="1244"/>
                  </a:cubicBezTo>
                  <a:cubicBezTo>
                    <a:pt x="439" y="1336"/>
                    <a:pt x="439" y="1336"/>
                    <a:pt x="439" y="1336"/>
                  </a:cubicBezTo>
                  <a:cubicBezTo>
                    <a:pt x="654" y="1313"/>
                    <a:pt x="745" y="1373"/>
                    <a:pt x="777" y="140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 name="bcgIcons_Business">
            <a:extLst>
              <a:ext uri="{FF2B5EF4-FFF2-40B4-BE49-F238E27FC236}">
                <a16:creationId xmlns:a16="http://schemas.microsoft.com/office/drawing/2014/main" id="{BFAFABC6-B2C5-4D0E-AC68-E64623D8AC2F}"/>
              </a:ext>
            </a:extLst>
          </p:cNvPr>
          <p:cNvGrpSpPr>
            <a:grpSpLocks noChangeAspect="1"/>
          </p:cNvGrpSpPr>
          <p:nvPr/>
        </p:nvGrpSpPr>
        <p:grpSpPr bwMode="auto">
          <a:xfrm>
            <a:off x="8566523" y="2005972"/>
            <a:ext cx="2388052" cy="2390266"/>
            <a:chOff x="1682" y="0"/>
            <a:chExt cx="4316" cy="4320"/>
          </a:xfrm>
        </p:grpSpPr>
        <p:sp>
          <p:nvSpPr>
            <p:cNvPr id="16" name="AutoShape 8">
              <a:extLst>
                <a:ext uri="{FF2B5EF4-FFF2-40B4-BE49-F238E27FC236}">
                  <a16:creationId xmlns:a16="http://schemas.microsoft.com/office/drawing/2014/main" id="{77E927C0-AC32-4AC5-BED1-EDD75469407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0">
              <a:extLst>
                <a:ext uri="{FF2B5EF4-FFF2-40B4-BE49-F238E27FC236}">
                  <a16:creationId xmlns:a16="http://schemas.microsoft.com/office/drawing/2014/main" id="{6426F14C-65AC-47A6-A241-7F7880AAB917}"/>
                </a:ext>
              </a:extLst>
            </p:cNvPr>
            <p:cNvSpPr>
              <a:spLocks/>
            </p:cNvSpPr>
            <p:nvPr/>
          </p:nvSpPr>
          <p:spPr bwMode="auto">
            <a:xfrm>
              <a:off x="2190" y="1438"/>
              <a:ext cx="3297" cy="1088"/>
            </a:xfrm>
            <a:custGeom>
              <a:avLst/>
              <a:gdLst>
                <a:gd name="T0" fmla="*/ 1756 w 1760"/>
                <a:gd name="T1" fmla="*/ 0 h 580"/>
                <a:gd name="T2" fmla="*/ 4 w 1760"/>
                <a:gd name="T3" fmla="*/ 0 h 580"/>
                <a:gd name="T4" fmla="*/ 0 w 1760"/>
                <a:gd name="T5" fmla="*/ 4 h 580"/>
                <a:gd name="T6" fmla="*/ 0 w 1760"/>
                <a:gd name="T7" fmla="*/ 8 h 580"/>
                <a:gd name="T8" fmla="*/ 213 w 1760"/>
                <a:gd name="T9" fmla="*/ 475 h 580"/>
                <a:gd name="T10" fmla="*/ 445 w 1760"/>
                <a:gd name="T11" fmla="*/ 580 h 580"/>
                <a:gd name="T12" fmla="*/ 729 w 1760"/>
                <a:gd name="T13" fmla="*/ 580 h 580"/>
                <a:gd name="T14" fmla="*/ 729 w 1760"/>
                <a:gd name="T15" fmla="*/ 487 h 580"/>
                <a:gd name="T16" fmla="*/ 803 w 1760"/>
                <a:gd name="T17" fmla="*/ 413 h 580"/>
                <a:gd name="T18" fmla="*/ 957 w 1760"/>
                <a:gd name="T19" fmla="*/ 413 h 580"/>
                <a:gd name="T20" fmla="*/ 1031 w 1760"/>
                <a:gd name="T21" fmla="*/ 487 h 580"/>
                <a:gd name="T22" fmla="*/ 1031 w 1760"/>
                <a:gd name="T23" fmla="*/ 580 h 580"/>
                <a:gd name="T24" fmla="*/ 1297 w 1760"/>
                <a:gd name="T25" fmla="*/ 580 h 580"/>
                <a:gd name="T26" fmla="*/ 1529 w 1760"/>
                <a:gd name="T27" fmla="*/ 475 h 580"/>
                <a:gd name="T28" fmla="*/ 1760 w 1760"/>
                <a:gd name="T29" fmla="*/ 8 h 580"/>
                <a:gd name="T30" fmla="*/ 1760 w 1760"/>
                <a:gd name="T31" fmla="*/ 4 h 580"/>
                <a:gd name="T32" fmla="*/ 1756 w 1760"/>
                <a:gd name="T33" fmla="*/ 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0" h="580">
                  <a:moveTo>
                    <a:pt x="1756" y="0"/>
                  </a:moveTo>
                  <a:cubicBezTo>
                    <a:pt x="4" y="0"/>
                    <a:pt x="4" y="0"/>
                    <a:pt x="4" y="0"/>
                  </a:cubicBezTo>
                  <a:cubicBezTo>
                    <a:pt x="2" y="0"/>
                    <a:pt x="0" y="2"/>
                    <a:pt x="0" y="4"/>
                  </a:cubicBezTo>
                  <a:cubicBezTo>
                    <a:pt x="0" y="8"/>
                    <a:pt x="0" y="8"/>
                    <a:pt x="0" y="8"/>
                  </a:cubicBezTo>
                  <a:cubicBezTo>
                    <a:pt x="0" y="8"/>
                    <a:pt x="92" y="308"/>
                    <a:pt x="213" y="475"/>
                  </a:cubicBezTo>
                  <a:cubicBezTo>
                    <a:pt x="289" y="579"/>
                    <a:pt x="307" y="580"/>
                    <a:pt x="445" y="580"/>
                  </a:cubicBezTo>
                  <a:cubicBezTo>
                    <a:pt x="729" y="580"/>
                    <a:pt x="729" y="580"/>
                    <a:pt x="729" y="580"/>
                  </a:cubicBezTo>
                  <a:cubicBezTo>
                    <a:pt x="729" y="487"/>
                    <a:pt x="729" y="487"/>
                    <a:pt x="729" y="487"/>
                  </a:cubicBezTo>
                  <a:cubicBezTo>
                    <a:pt x="729" y="447"/>
                    <a:pt x="763" y="413"/>
                    <a:pt x="803" y="413"/>
                  </a:cubicBezTo>
                  <a:cubicBezTo>
                    <a:pt x="957" y="413"/>
                    <a:pt x="957" y="413"/>
                    <a:pt x="957" y="413"/>
                  </a:cubicBezTo>
                  <a:cubicBezTo>
                    <a:pt x="997" y="413"/>
                    <a:pt x="1031" y="447"/>
                    <a:pt x="1031" y="487"/>
                  </a:cubicBezTo>
                  <a:cubicBezTo>
                    <a:pt x="1031" y="580"/>
                    <a:pt x="1031" y="580"/>
                    <a:pt x="1031" y="580"/>
                  </a:cubicBezTo>
                  <a:cubicBezTo>
                    <a:pt x="1297" y="580"/>
                    <a:pt x="1297" y="580"/>
                    <a:pt x="1297" y="580"/>
                  </a:cubicBezTo>
                  <a:cubicBezTo>
                    <a:pt x="1419" y="580"/>
                    <a:pt x="1463" y="568"/>
                    <a:pt x="1529" y="475"/>
                  </a:cubicBezTo>
                  <a:cubicBezTo>
                    <a:pt x="1652" y="303"/>
                    <a:pt x="1760" y="8"/>
                    <a:pt x="1760" y="8"/>
                  </a:cubicBezTo>
                  <a:cubicBezTo>
                    <a:pt x="1760" y="4"/>
                    <a:pt x="1760" y="4"/>
                    <a:pt x="1760" y="4"/>
                  </a:cubicBezTo>
                  <a:cubicBezTo>
                    <a:pt x="1760" y="2"/>
                    <a:pt x="1758" y="0"/>
                    <a:pt x="175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11">
              <a:extLst>
                <a:ext uri="{FF2B5EF4-FFF2-40B4-BE49-F238E27FC236}">
                  <a16:creationId xmlns:a16="http://schemas.microsoft.com/office/drawing/2014/main" id="{CFB2DF4A-A5B5-4B6E-8B73-1D01D5EE4781}"/>
                </a:ext>
              </a:extLst>
            </p:cNvPr>
            <p:cNvSpPr>
              <a:spLocks noEditPoints="1"/>
            </p:cNvSpPr>
            <p:nvPr/>
          </p:nvSpPr>
          <p:spPr bwMode="auto">
            <a:xfrm>
              <a:off x="2111" y="667"/>
              <a:ext cx="3454" cy="2972"/>
            </a:xfrm>
            <a:custGeom>
              <a:avLst/>
              <a:gdLst>
                <a:gd name="T0" fmla="*/ 517 w 1844"/>
                <a:gd name="T1" fmla="*/ 329 h 1585"/>
                <a:gd name="T2" fmla="*/ 517 w 1844"/>
                <a:gd name="T3" fmla="*/ 154 h 1585"/>
                <a:gd name="T4" fmla="*/ 670 w 1844"/>
                <a:gd name="T5" fmla="*/ 0 h 1585"/>
                <a:gd name="T6" fmla="*/ 1174 w 1844"/>
                <a:gd name="T7" fmla="*/ 0 h 1585"/>
                <a:gd name="T8" fmla="*/ 1327 w 1844"/>
                <a:gd name="T9" fmla="*/ 154 h 1585"/>
                <a:gd name="T10" fmla="*/ 1327 w 1844"/>
                <a:gd name="T11" fmla="*/ 329 h 1585"/>
                <a:gd name="T12" fmla="*/ 1239 w 1844"/>
                <a:gd name="T13" fmla="*/ 329 h 1585"/>
                <a:gd name="T14" fmla="*/ 1239 w 1844"/>
                <a:gd name="T15" fmla="*/ 154 h 1585"/>
                <a:gd name="T16" fmla="*/ 1174 w 1844"/>
                <a:gd name="T17" fmla="*/ 88 h 1585"/>
                <a:gd name="T18" fmla="*/ 670 w 1844"/>
                <a:gd name="T19" fmla="*/ 88 h 1585"/>
                <a:gd name="T20" fmla="*/ 605 w 1844"/>
                <a:gd name="T21" fmla="*/ 154 h 1585"/>
                <a:gd name="T22" fmla="*/ 605 w 1844"/>
                <a:gd name="T23" fmla="*/ 329 h 1585"/>
                <a:gd name="T24" fmla="*/ 517 w 1844"/>
                <a:gd name="T25" fmla="*/ 329 h 1585"/>
                <a:gd name="T26" fmla="*/ 1844 w 1844"/>
                <a:gd name="T27" fmla="*/ 1541 h 1585"/>
                <a:gd name="T28" fmla="*/ 1844 w 1844"/>
                <a:gd name="T29" fmla="*/ 413 h 1585"/>
                <a:gd name="T30" fmla="*/ 1800 w 1844"/>
                <a:gd name="T31" fmla="*/ 369 h 1585"/>
                <a:gd name="T32" fmla="*/ 44 w 1844"/>
                <a:gd name="T33" fmla="*/ 369 h 1585"/>
                <a:gd name="T34" fmla="*/ 0 w 1844"/>
                <a:gd name="T35" fmla="*/ 413 h 1585"/>
                <a:gd name="T36" fmla="*/ 0 w 1844"/>
                <a:gd name="T37" fmla="*/ 1541 h 1585"/>
                <a:gd name="T38" fmla="*/ 44 w 1844"/>
                <a:gd name="T39" fmla="*/ 1585 h 1585"/>
                <a:gd name="T40" fmla="*/ 1800 w 1844"/>
                <a:gd name="T41" fmla="*/ 1585 h 1585"/>
                <a:gd name="T42" fmla="*/ 1844 w 1844"/>
                <a:gd name="T43" fmla="*/ 1541 h 1585"/>
                <a:gd name="T44" fmla="*/ 1800 w 1844"/>
                <a:gd name="T45" fmla="*/ 413 h 1585"/>
                <a:gd name="T46" fmla="*/ 1800 w 1844"/>
                <a:gd name="T47" fmla="*/ 1541 h 1585"/>
                <a:gd name="T48" fmla="*/ 44 w 1844"/>
                <a:gd name="T49" fmla="*/ 1541 h 1585"/>
                <a:gd name="T50" fmla="*/ 44 w 1844"/>
                <a:gd name="T51" fmla="*/ 413 h 1585"/>
                <a:gd name="T52" fmla="*/ 1800 w 1844"/>
                <a:gd name="T53" fmla="*/ 413 h 1585"/>
                <a:gd name="T54" fmla="*/ 1031 w 1844"/>
                <a:gd name="T55" fmla="*/ 892 h 1585"/>
                <a:gd name="T56" fmla="*/ 1031 w 1844"/>
                <a:gd name="T57" fmla="*/ 1132 h 1585"/>
                <a:gd name="T58" fmla="*/ 999 w 1844"/>
                <a:gd name="T59" fmla="*/ 1164 h 1585"/>
                <a:gd name="T60" fmla="*/ 845 w 1844"/>
                <a:gd name="T61" fmla="*/ 1164 h 1585"/>
                <a:gd name="T62" fmla="*/ 813 w 1844"/>
                <a:gd name="T63" fmla="*/ 1132 h 1585"/>
                <a:gd name="T64" fmla="*/ 813 w 1844"/>
                <a:gd name="T65" fmla="*/ 892 h 1585"/>
                <a:gd name="T66" fmla="*/ 845 w 1844"/>
                <a:gd name="T67" fmla="*/ 860 h 1585"/>
                <a:gd name="T68" fmla="*/ 999 w 1844"/>
                <a:gd name="T69" fmla="*/ 860 h 1585"/>
                <a:gd name="T70" fmla="*/ 1031 w 1844"/>
                <a:gd name="T71" fmla="*/ 892 h 1585"/>
                <a:gd name="T72" fmla="*/ 857 w 1844"/>
                <a:gd name="T73" fmla="*/ 904 h 1585"/>
                <a:gd name="T74" fmla="*/ 857 w 1844"/>
                <a:gd name="T75" fmla="*/ 1029 h 1585"/>
                <a:gd name="T76" fmla="*/ 987 w 1844"/>
                <a:gd name="T77" fmla="*/ 1029 h 1585"/>
                <a:gd name="T78" fmla="*/ 987 w 1844"/>
                <a:gd name="T79" fmla="*/ 904 h 1585"/>
                <a:gd name="T80" fmla="*/ 857 w 1844"/>
                <a:gd name="T81" fmla="*/ 904 h 1585"/>
                <a:gd name="T82" fmla="*/ 987 w 1844"/>
                <a:gd name="T83" fmla="*/ 1120 h 1585"/>
                <a:gd name="T84" fmla="*/ 987 w 1844"/>
                <a:gd name="T85" fmla="*/ 1073 h 1585"/>
                <a:gd name="T86" fmla="*/ 857 w 1844"/>
                <a:gd name="T87" fmla="*/ 1073 h 1585"/>
                <a:gd name="T88" fmla="*/ 857 w 1844"/>
                <a:gd name="T89" fmla="*/ 1120 h 1585"/>
                <a:gd name="T90" fmla="*/ 987 w 1844"/>
                <a:gd name="T91" fmla="*/ 1120 h 1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44" h="1585">
                  <a:moveTo>
                    <a:pt x="517" y="329"/>
                  </a:moveTo>
                  <a:cubicBezTo>
                    <a:pt x="517" y="154"/>
                    <a:pt x="517" y="154"/>
                    <a:pt x="517" y="154"/>
                  </a:cubicBezTo>
                  <a:cubicBezTo>
                    <a:pt x="517" y="69"/>
                    <a:pt x="585" y="0"/>
                    <a:pt x="670" y="0"/>
                  </a:cubicBezTo>
                  <a:cubicBezTo>
                    <a:pt x="1174" y="0"/>
                    <a:pt x="1174" y="0"/>
                    <a:pt x="1174" y="0"/>
                  </a:cubicBezTo>
                  <a:cubicBezTo>
                    <a:pt x="1259" y="0"/>
                    <a:pt x="1327" y="69"/>
                    <a:pt x="1327" y="154"/>
                  </a:cubicBezTo>
                  <a:cubicBezTo>
                    <a:pt x="1327" y="329"/>
                    <a:pt x="1327" y="329"/>
                    <a:pt x="1327" y="329"/>
                  </a:cubicBezTo>
                  <a:cubicBezTo>
                    <a:pt x="1239" y="329"/>
                    <a:pt x="1239" y="329"/>
                    <a:pt x="1239" y="329"/>
                  </a:cubicBezTo>
                  <a:cubicBezTo>
                    <a:pt x="1239" y="154"/>
                    <a:pt x="1239" y="154"/>
                    <a:pt x="1239" y="154"/>
                  </a:cubicBezTo>
                  <a:cubicBezTo>
                    <a:pt x="1239" y="118"/>
                    <a:pt x="1210" y="88"/>
                    <a:pt x="1174" y="88"/>
                  </a:cubicBezTo>
                  <a:cubicBezTo>
                    <a:pt x="670" y="88"/>
                    <a:pt x="670" y="88"/>
                    <a:pt x="670" y="88"/>
                  </a:cubicBezTo>
                  <a:cubicBezTo>
                    <a:pt x="634" y="88"/>
                    <a:pt x="605" y="118"/>
                    <a:pt x="605" y="154"/>
                  </a:cubicBezTo>
                  <a:cubicBezTo>
                    <a:pt x="605" y="329"/>
                    <a:pt x="605" y="329"/>
                    <a:pt x="605" y="329"/>
                  </a:cubicBezTo>
                  <a:lnTo>
                    <a:pt x="517" y="329"/>
                  </a:lnTo>
                  <a:close/>
                  <a:moveTo>
                    <a:pt x="1844" y="1541"/>
                  </a:moveTo>
                  <a:cubicBezTo>
                    <a:pt x="1844" y="413"/>
                    <a:pt x="1844" y="413"/>
                    <a:pt x="1844" y="413"/>
                  </a:cubicBezTo>
                  <a:cubicBezTo>
                    <a:pt x="1844" y="389"/>
                    <a:pt x="1824" y="369"/>
                    <a:pt x="1800" y="369"/>
                  </a:cubicBezTo>
                  <a:cubicBezTo>
                    <a:pt x="44" y="369"/>
                    <a:pt x="44" y="369"/>
                    <a:pt x="44" y="369"/>
                  </a:cubicBezTo>
                  <a:cubicBezTo>
                    <a:pt x="20" y="369"/>
                    <a:pt x="0" y="389"/>
                    <a:pt x="0" y="413"/>
                  </a:cubicBezTo>
                  <a:cubicBezTo>
                    <a:pt x="0" y="1541"/>
                    <a:pt x="0" y="1541"/>
                    <a:pt x="0" y="1541"/>
                  </a:cubicBezTo>
                  <a:cubicBezTo>
                    <a:pt x="0" y="1565"/>
                    <a:pt x="20" y="1585"/>
                    <a:pt x="44" y="1585"/>
                  </a:cubicBezTo>
                  <a:cubicBezTo>
                    <a:pt x="1800" y="1585"/>
                    <a:pt x="1800" y="1585"/>
                    <a:pt x="1800" y="1585"/>
                  </a:cubicBezTo>
                  <a:cubicBezTo>
                    <a:pt x="1824" y="1585"/>
                    <a:pt x="1844" y="1565"/>
                    <a:pt x="1844" y="1541"/>
                  </a:cubicBezTo>
                  <a:close/>
                  <a:moveTo>
                    <a:pt x="1800" y="413"/>
                  </a:moveTo>
                  <a:cubicBezTo>
                    <a:pt x="1800" y="1541"/>
                    <a:pt x="1800" y="1541"/>
                    <a:pt x="1800" y="1541"/>
                  </a:cubicBezTo>
                  <a:cubicBezTo>
                    <a:pt x="44" y="1541"/>
                    <a:pt x="44" y="1541"/>
                    <a:pt x="44" y="1541"/>
                  </a:cubicBezTo>
                  <a:cubicBezTo>
                    <a:pt x="44" y="413"/>
                    <a:pt x="44" y="413"/>
                    <a:pt x="44" y="413"/>
                  </a:cubicBezTo>
                  <a:lnTo>
                    <a:pt x="1800" y="413"/>
                  </a:lnTo>
                  <a:close/>
                  <a:moveTo>
                    <a:pt x="1031" y="892"/>
                  </a:moveTo>
                  <a:cubicBezTo>
                    <a:pt x="1031" y="1132"/>
                    <a:pt x="1031" y="1132"/>
                    <a:pt x="1031" y="1132"/>
                  </a:cubicBezTo>
                  <a:cubicBezTo>
                    <a:pt x="1031" y="1150"/>
                    <a:pt x="1016" y="1164"/>
                    <a:pt x="999" y="1164"/>
                  </a:cubicBezTo>
                  <a:cubicBezTo>
                    <a:pt x="845" y="1164"/>
                    <a:pt x="845" y="1164"/>
                    <a:pt x="845" y="1164"/>
                  </a:cubicBezTo>
                  <a:cubicBezTo>
                    <a:pt x="828" y="1164"/>
                    <a:pt x="813" y="1150"/>
                    <a:pt x="813" y="1132"/>
                  </a:cubicBezTo>
                  <a:cubicBezTo>
                    <a:pt x="813" y="892"/>
                    <a:pt x="813" y="892"/>
                    <a:pt x="813" y="892"/>
                  </a:cubicBezTo>
                  <a:cubicBezTo>
                    <a:pt x="813" y="875"/>
                    <a:pt x="828" y="860"/>
                    <a:pt x="845" y="860"/>
                  </a:cubicBezTo>
                  <a:cubicBezTo>
                    <a:pt x="999" y="860"/>
                    <a:pt x="999" y="860"/>
                    <a:pt x="999" y="860"/>
                  </a:cubicBezTo>
                  <a:cubicBezTo>
                    <a:pt x="1016" y="860"/>
                    <a:pt x="1031" y="875"/>
                    <a:pt x="1031" y="892"/>
                  </a:cubicBezTo>
                  <a:close/>
                  <a:moveTo>
                    <a:pt x="857" y="904"/>
                  </a:moveTo>
                  <a:cubicBezTo>
                    <a:pt x="857" y="1029"/>
                    <a:pt x="857" y="1029"/>
                    <a:pt x="857" y="1029"/>
                  </a:cubicBezTo>
                  <a:cubicBezTo>
                    <a:pt x="987" y="1029"/>
                    <a:pt x="987" y="1029"/>
                    <a:pt x="987" y="1029"/>
                  </a:cubicBezTo>
                  <a:cubicBezTo>
                    <a:pt x="987" y="904"/>
                    <a:pt x="987" y="904"/>
                    <a:pt x="987" y="904"/>
                  </a:cubicBezTo>
                  <a:lnTo>
                    <a:pt x="857" y="904"/>
                  </a:lnTo>
                  <a:close/>
                  <a:moveTo>
                    <a:pt x="987" y="1120"/>
                  </a:moveTo>
                  <a:cubicBezTo>
                    <a:pt x="987" y="1073"/>
                    <a:pt x="987" y="1073"/>
                    <a:pt x="987" y="1073"/>
                  </a:cubicBezTo>
                  <a:cubicBezTo>
                    <a:pt x="857" y="1073"/>
                    <a:pt x="857" y="1073"/>
                    <a:pt x="857" y="1073"/>
                  </a:cubicBezTo>
                  <a:cubicBezTo>
                    <a:pt x="857" y="1120"/>
                    <a:pt x="857" y="1120"/>
                    <a:pt x="857" y="1120"/>
                  </a:cubicBezTo>
                  <a:lnTo>
                    <a:pt x="987" y="112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 name="Rectangle 18">
            <a:extLst>
              <a:ext uri="{FF2B5EF4-FFF2-40B4-BE49-F238E27FC236}">
                <a16:creationId xmlns:a16="http://schemas.microsoft.com/office/drawing/2014/main" id="{F56E76A3-A406-4E16-B279-F0B0351A597A}"/>
              </a:ext>
            </a:extLst>
          </p:cNvPr>
          <p:cNvSpPr/>
          <p:nvPr>
            <p:custDataLst>
              <p:tags r:id="rId4"/>
            </p:custDataLst>
          </p:nvPr>
        </p:nvSpPr>
        <p:spPr>
          <a:xfrm>
            <a:off x="747123" y="4302750"/>
            <a:ext cx="3368657" cy="1754326"/>
          </a:xfrm>
          <a:prstGeom prst="rect">
            <a:avLst/>
          </a:prstGeom>
        </p:spPr>
        <p:txBody>
          <a:bodyPr wrap="square" lIns="216000" rIns="216000" anchor="ctr">
            <a:spAutoFit/>
          </a:bodyPr>
          <a:lstStyle/>
          <a:p>
            <a:pPr algn="ctr"/>
            <a:r>
              <a:rPr lang="cs-CZ" sz="2400" b="1" dirty="0" err="1">
                <a:solidFill>
                  <a:schemeClr val="tx2"/>
                </a:solidFill>
              </a:rPr>
              <a:t>Individuals</a:t>
            </a:r>
            <a:endParaRPr lang="en-US" sz="2400" b="1" dirty="0">
              <a:solidFill>
                <a:schemeClr val="tx2"/>
              </a:solidFill>
            </a:endParaRPr>
          </a:p>
          <a:p>
            <a:pPr marL="324000" lvl="1" indent="-216000">
              <a:buClr>
                <a:schemeClr val="tx2">
                  <a:lumMod val="100000"/>
                </a:schemeClr>
              </a:buClr>
              <a:buSzPct val="100000"/>
              <a:buFont typeface="Trebuchet MS" panose="020B0603020202020204" pitchFamily="34" charset="0"/>
              <a:buChar char="•"/>
            </a:pPr>
            <a:r>
              <a:rPr lang="cs-CZ" dirty="0" err="1">
                <a:solidFill>
                  <a:schemeClr val="tx1">
                    <a:lumMod val="100000"/>
                  </a:schemeClr>
                </a:solidFill>
                <a:latin typeface="Trebuchet MS" panose="020B0603020202020204" pitchFamily="34" charset="0"/>
              </a:rPr>
              <a:t>After</a:t>
            </a:r>
            <a:r>
              <a:rPr lang="cs-CZ" dirty="0">
                <a:solidFill>
                  <a:schemeClr val="tx1">
                    <a:lumMod val="100000"/>
                  </a:schemeClr>
                </a:solidFill>
                <a:latin typeface="Trebuchet MS" panose="020B0603020202020204" pitchFamily="34" charset="0"/>
              </a:rPr>
              <a:t> trial, </a:t>
            </a:r>
            <a:r>
              <a:rPr lang="cs-CZ" dirty="0" err="1">
                <a:solidFill>
                  <a:schemeClr val="tx1">
                    <a:lumMod val="100000"/>
                  </a:schemeClr>
                </a:solidFill>
                <a:latin typeface="Trebuchet MS" panose="020B0603020202020204" pitchFamily="34" charset="0"/>
              </a:rPr>
              <a:t>pay</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subscription</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fee</a:t>
            </a:r>
            <a:r>
              <a:rPr lang="cs-CZ" dirty="0">
                <a:solidFill>
                  <a:schemeClr val="tx1">
                    <a:lumMod val="100000"/>
                  </a:schemeClr>
                </a:solidFill>
                <a:latin typeface="Trebuchet MS" panose="020B0603020202020204" pitchFamily="34" charset="0"/>
              </a:rPr>
              <a:t> for:</a:t>
            </a:r>
          </a:p>
          <a:p>
            <a:pPr marL="781200" lvl="2" indent="-216000">
              <a:buClr>
                <a:schemeClr val="tx2">
                  <a:lumMod val="100000"/>
                </a:schemeClr>
              </a:buClr>
              <a:buSzPct val="100000"/>
              <a:buFont typeface="Trebuchet MS" panose="020B0603020202020204" pitchFamily="34" charset="0"/>
              <a:buChar char="•"/>
            </a:pPr>
            <a:r>
              <a:rPr lang="cs-CZ" sz="1600" dirty="0">
                <a:solidFill>
                  <a:schemeClr val="tx1">
                    <a:lumMod val="100000"/>
                  </a:schemeClr>
                </a:solidFill>
                <a:latin typeface="Trebuchet MS" panose="020B0603020202020204" pitchFamily="34" charset="0"/>
              </a:rPr>
              <a:t>New </a:t>
            </a:r>
            <a:r>
              <a:rPr lang="cs-CZ" sz="1600" dirty="0" err="1">
                <a:solidFill>
                  <a:schemeClr val="tx1">
                    <a:lumMod val="100000"/>
                  </a:schemeClr>
                </a:solidFill>
                <a:latin typeface="Trebuchet MS" panose="020B0603020202020204" pitchFamily="34" charset="0"/>
              </a:rPr>
              <a:t>real</a:t>
            </a:r>
            <a:r>
              <a:rPr lang="cs-CZ" sz="1600" dirty="0">
                <a:solidFill>
                  <a:schemeClr val="tx1">
                    <a:lumMod val="100000"/>
                  </a:schemeClr>
                </a:solidFill>
                <a:latin typeface="Trebuchet MS" panose="020B0603020202020204" pitchFamily="34" charset="0"/>
              </a:rPr>
              <a:t> </a:t>
            </a:r>
            <a:r>
              <a:rPr lang="cs-CZ" sz="1600" dirty="0" err="1">
                <a:solidFill>
                  <a:schemeClr val="tx1">
                    <a:lumMod val="100000"/>
                  </a:schemeClr>
                </a:solidFill>
                <a:latin typeface="Trebuchet MS" panose="020B0603020202020204" pitchFamily="34" charset="0"/>
              </a:rPr>
              <a:t>estate</a:t>
            </a:r>
            <a:r>
              <a:rPr lang="cs-CZ" sz="1600" dirty="0">
                <a:solidFill>
                  <a:schemeClr val="tx1">
                    <a:lumMod val="100000"/>
                  </a:schemeClr>
                </a:solidFill>
                <a:latin typeface="Trebuchet MS" panose="020B0603020202020204" pitchFamily="34" charset="0"/>
              </a:rPr>
              <a:t> </a:t>
            </a:r>
            <a:r>
              <a:rPr lang="cs-CZ" sz="1600" dirty="0" err="1">
                <a:solidFill>
                  <a:schemeClr val="tx1">
                    <a:lumMod val="100000"/>
                  </a:schemeClr>
                </a:solidFill>
                <a:latin typeface="Trebuchet MS" panose="020B0603020202020204" pitchFamily="34" charset="0"/>
              </a:rPr>
              <a:t>alerts</a:t>
            </a:r>
            <a:r>
              <a:rPr lang="cs-CZ" sz="1600" dirty="0">
                <a:solidFill>
                  <a:schemeClr val="tx1">
                    <a:lumMod val="100000"/>
                  </a:schemeClr>
                </a:solidFill>
                <a:latin typeface="Trebuchet MS" panose="020B0603020202020204" pitchFamily="34" charset="0"/>
              </a:rPr>
              <a:t>, </a:t>
            </a:r>
          </a:p>
          <a:p>
            <a:pPr marL="781200" lvl="2" indent="-216000">
              <a:buClr>
                <a:schemeClr val="tx2">
                  <a:lumMod val="100000"/>
                </a:schemeClr>
              </a:buClr>
              <a:buSzPct val="100000"/>
              <a:buFont typeface="Trebuchet MS" panose="020B0603020202020204" pitchFamily="34" charset="0"/>
              <a:buChar char="•"/>
            </a:pPr>
            <a:r>
              <a:rPr lang="cs-CZ" sz="1600" dirty="0">
                <a:solidFill>
                  <a:schemeClr val="tx1">
                    <a:lumMod val="100000"/>
                  </a:schemeClr>
                </a:solidFill>
                <a:latin typeface="Trebuchet MS" panose="020B0603020202020204" pitchFamily="34" charset="0"/>
              </a:rPr>
              <a:t>AI </a:t>
            </a:r>
            <a:r>
              <a:rPr lang="cs-CZ" sz="1600" dirty="0" err="1">
                <a:solidFill>
                  <a:schemeClr val="tx1">
                    <a:lumMod val="100000"/>
                  </a:schemeClr>
                </a:solidFill>
                <a:latin typeface="Trebuchet MS" panose="020B0603020202020204" pitchFamily="34" charset="0"/>
              </a:rPr>
              <a:t>recommendation</a:t>
            </a:r>
            <a:r>
              <a:rPr lang="cs-CZ" sz="1600" dirty="0">
                <a:solidFill>
                  <a:schemeClr val="tx1">
                    <a:lumMod val="100000"/>
                  </a:schemeClr>
                </a:solidFill>
                <a:latin typeface="Trebuchet MS" panose="020B0603020202020204" pitchFamily="34" charset="0"/>
              </a:rPr>
              <a:t> for </a:t>
            </a:r>
            <a:r>
              <a:rPr lang="cs-CZ" sz="1600" dirty="0" err="1">
                <a:solidFill>
                  <a:schemeClr val="tx1">
                    <a:lumMod val="100000"/>
                  </a:schemeClr>
                </a:solidFill>
                <a:latin typeface="Trebuchet MS" panose="020B0603020202020204" pitchFamily="34" charset="0"/>
              </a:rPr>
              <a:t>price</a:t>
            </a:r>
            <a:r>
              <a:rPr lang="cs-CZ" sz="1600" dirty="0">
                <a:solidFill>
                  <a:schemeClr val="tx1">
                    <a:lumMod val="100000"/>
                  </a:schemeClr>
                </a:solidFill>
                <a:latin typeface="Trebuchet MS" panose="020B0603020202020204" pitchFamily="34" charset="0"/>
              </a:rPr>
              <a:t> </a:t>
            </a:r>
            <a:r>
              <a:rPr lang="cs-CZ" sz="1600" dirty="0" err="1">
                <a:solidFill>
                  <a:schemeClr val="tx1">
                    <a:lumMod val="100000"/>
                  </a:schemeClr>
                </a:solidFill>
                <a:latin typeface="Trebuchet MS" panose="020B0603020202020204" pitchFamily="34" charset="0"/>
              </a:rPr>
              <a:t>competitions</a:t>
            </a:r>
            <a:endParaRPr lang="en-US" sz="2000" dirty="0">
              <a:solidFill>
                <a:schemeClr val="tx1">
                  <a:lumMod val="100000"/>
                </a:schemeClr>
              </a:solidFill>
              <a:latin typeface="Trebuchet MS" panose="020B0603020202020204" pitchFamily="34" charset="0"/>
            </a:endParaRPr>
          </a:p>
        </p:txBody>
      </p:sp>
      <p:sp>
        <p:nvSpPr>
          <p:cNvPr id="20" name="Rectangle 19">
            <a:extLst>
              <a:ext uri="{FF2B5EF4-FFF2-40B4-BE49-F238E27FC236}">
                <a16:creationId xmlns:a16="http://schemas.microsoft.com/office/drawing/2014/main" id="{464D0B46-A38A-4487-880F-290D1069B93B}"/>
              </a:ext>
            </a:extLst>
          </p:cNvPr>
          <p:cNvSpPr/>
          <p:nvPr>
            <p:custDataLst>
              <p:tags r:id="rId5"/>
            </p:custDataLst>
          </p:nvPr>
        </p:nvSpPr>
        <p:spPr>
          <a:xfrm>
            <a:off x="4411671" y="4395084"/>
            <a:ext cx="3368657" cy="1569660"/>
          </a:xfrm>
          <a:prstGeom prst="rect">
            <a:avLst/>
          </a:prstGeom>
        </p:spPr>
        <p:txBody>
          <a:bodyPr wrap="square" lIns="216000" rIns="216000" anchor="ctr">
            <a:spAutoFit/>
          </a:bodyPr>
          <a:lstStyle/>
          <a:p>
            <a:pPr algn="ctr"/>
            <a:r>
              <a:rPr lang="cs-CZ" sz="2400" b="1" dirty="0" err="1">
                <a:solidFill>
                  <a:schemeClr val="tx2"/>
                </a:solidFill>
              </a:rPr>
              <a:t>Investors</a:t>
            </a:r>
            <a:endParaRPr lang="en-US" sz="2400" b="1" dirty="0">
              <a:solidFill>
                <a:schemeClr val="tx2"/>
              </a:solidFill>
            </a:endParaRPr>
          </a:p>
          <a:p>
            <a:pPr marL="324000" lvl="1" indent="-216000">
              <a:buClr>
                <a:schemeClr val="tx2">
                  <a:lumMod val="100000"/>
                </a:schemeClr>
              </a:buClr>
              <a:buSzPct val="100000"/>
              <a:buFont typeface="Trebuchet MS" panose="020B0603020202020204" pitchFamily="34" charset="0"/>
              <a:buChar char="•"/>
            </a:pPr>
            <a:r>
              <a:rPr lang="cs-CZ" dirty="0" err="1">
                <a:solidFill>
                  <a:schemeClr val="tx1">
                    <a:lumMod val="100000"/>
                  </a:schemeClr>
                </a:solidFill>
                <a:latin typeface="Trebuchet MS" panose="020B0603020202020204" pitchFamily="34" charset="0"/>
              </a:rPr>
              <a:t>Pay</a:t>
            </a:r>
            <a:r>
              <a:rPr lang="cs-CZ" dirty="0">
                <a:solidFill>
                  <a:schemeClr val="tx1">
                    <a:lumMod val="100000"/>
                  </a:schemeClr>
                </a:solidFill>
                <a:latin typeface="Trebuchet MS" panose="020B0603020202020204" pitchFamily="34" charset="0"/>
              </a:rPr>
              <a:t> for </a:t>
            </a:r>
            <a:r>
              <a:rPr lang="cs-CZ" dirty="0" err="1">
                <a:solidFill>
                  <a:schemeClr val="tx1">
                    <a:lumMod val="100000"/>
                  </a:schemeClr>
                </a:solidFill>
                <a:latin typeface="Trebuchet MS" panose="020B0603020202020204" pitchFamily="34" charset="0"/>
              </a:rPr>
              <a:t>SaaS</a:t>
            </a:r>
            <a:r>
              <a:rPr lang="cs-CZ" dirty="0">
                <a:solidFill>
                  <a:schemeClr val="tx1">
                    <a:lumMod val="100000"/>
                  </a:schemeClr>
                </a:solidFill>
                <a:latin typeface="Trebuchet MS" panose="020B0603020202020204" pitchFamily="34" charset="0"/>
              </a:rPr>
              <a:t> AI </a:t>
            </a:r>
            <a:r>
              <a:rPr lang="cs-CZ" dirty="0" err="1">
                <a:solidFill>
                  <a:schemeClr val="tx1">
                    <a:lumMod val="100000"/>
                  </a:schemeClr>
                </a:solidFill>
                <a:latin typeface="Trebuchet MS" panose="020B0603020202020204" pitchFamily="34" charset="0"/>
              </a:rPr>
              <a:t>recommender</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powered</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real</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estate</a:t>
            </a:r>
            <a:r>
              <a:rPr lang="cs-CZ" dirty="0">
                <a:solidFill>
                  <a:schemeClr val="tx1">
                    <a:lumMod val="100000"/>
                  </a:schemeClr>
                </a:solidFill>
                <a:latin typeface="Trebuchet MS" panose="020B0603020202020204" pitchFamily="34" charset="0"/>
              </a:rPr>
              <a:t> portfolio management dashboard</a:t>
            </a:r>
            <a:endParaRPr lang="en-US" sz="2000" dirty="0">
              <a:solidFill>
                <a:schemeClr val="tx1">
                  <a:lumMod val="100000"/>
                </a:schemeClr>
              </a:solidFill>
              <a:latin typeface="Trebuchet MS" panose="020B0603020202020204" pitchFamily="34" charset="0"/>
            </a:endParaRPr>
          </a:p>
        </p:txBody>
      </p:sp>
      <p:sp>
        <p:nvSpPr>
          <p:cNvPr id="21" name="Rectangle 20">
            <a:extLst>
              <a:ext uri="{FF2B5EF4-FFF2-40B4-BE49-F238E27FC236}">
                <a16:creationId xmlns:a16="http://schemas.microsoft.com/office/drawing/2014/main" id="{FD227671-98A9-401A-9D9C-BAD0496FC0A5}"/>
              </a:ext>
            </a:extLst>
          </p:cNvPr>
          <p:cNvSpPr/>
          <p:nvPr>
            <p:custDataLst>
              <p:tags r:id="rId6"/>
            </p:custDataLst>
          </p:nvPr>
        </p:nvSpPr>
        <p:spPr>
          <a:xfrm>
            <a:off x="8076220" y="4395085"/>
            <a:ext cx="3368657" cy="1569660"/>
          </a:xfrm>
          <a:prstGeom prst="rect">
            <a:avLst/>
          </a:prstGeom>
        </p:spPr>
        <p:txBody>
          <a:bodyPr wrap="square" lIns="216000" rIns="216000" anchor="ctr">
            <a:spAutoFit/>
          </a:bodyPr>
          <a:lstStyle/>
          <a:p>
            <a:pPr algn="ctr"/>
            <a:r>
              <a:rPr lang="cs-CZ" sz="2400" b="1" dirty="0" err="1">
                <a:solidFill>
                  <a:schemeClr val="tx2"/>
                </a:solidFill>
              </a:rPr>
              <a:t>Companies</a:t>
            </a:r>
            <a:endParaRPr lang="en-US" sz="2400" b="1" dirty="0">
              <a:solidFill>
                <a:schemeClr val="tx2"/>
              </a:solidFill>
            </a:endParaRPr>
          </a:p>
          <a:p>
            <a:pPr marL="324000" lvl="1" indent="-216000">
              <a:buClr>
                <a:schemeClr val="tx2">
                  <a:lumMod val="100000"/>
                </a:schemeClr>
              </a:buClr>
              <a:buSzPct val="100000"/>
              <a:buFont typeface="Trebuchet MS" panose="020B0603020202020204" pitchFamily="34" charset="0"/>
              <a:buChar char="•"/>
            </a:pPr>
            <a:r>
              <a:rPr lang="cs-CZ" dirty="0" err="1">
                <a:solidFill>
                  <a:schemeClr val="tx1">
                    <a:lumMod val="100000"/>
                  </a:schemeClr>
                </a:solidFill>
                <a:latin typeface="Trebuchet MS" panose="020B0603020202020204" pitchFamily="34" charset="0"/>
              </a:rPr>
              <a:t>Pay</a:t>
            </a:r>
            <a:r>
              <a:rPr lang="cs-CZ" dirty="0">
                <a:solidFill>
                  <a:schemeClr val="tx1">
                    <a:lumMod val="100000"/>
                  </a:schemeClr>
                </a:solidFill>
                <a:latin typeface="Trebuchet MS" panose="020B0603020202020204" pitchFamily="34" charset="0"/>
              </a:rPr>
              <a:t> for </a:t>
            </a:r>
            <a:r>
              <a:rPr lang="cs-CZ" dirty="0" err="1">
                <a:solidFill>
                  <a:schemeClr val="tx1">
                    <a:lumMod val="100000"/>
                  </a:schemeClr>
                </a:solidFill>
                <a:latin typeface="Trebuchet MS" panose="020B0603020202020204" pitchFamily="34" charset="0"/>
              </a:rPr>
              <a:t>access</a:t>
            </a:r>
            <a:r>
              <a:rPr lang="cs-CZ" dirty="0">
                <a:solidFill>
                  <a:schemeClr val="tx1">
                    <a:lumMod val="100000"/>
                  </a:schemeClr>
                </a:solidFill>
                <a:latin typeface="Trebuchet MS" panose="020B0603020202020204" pitchFamily="34" charset="0"/>
              </a:rPr>
              <a:t> to data to </a:t>
            </a:r>
            <a:r>
              <a:rPr lang="cs-CZ" dirty="0" err="1">
                <a:solidFill>
                  <a:schemeClr val="tx1">
                    <a:lumMod val="100000"/>
                  </a:schemeClr>
                </a:solidFill>
                <a:latin typeface="Trebuchet MS" panose="020B0603020202020204" pitchFamily="34" charset="0"/>
              </a:rPr>
              <a:t>improve</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their</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digital</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services</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based</a:t>
            </a:r>
            <a:r>
              <a:rPr lang="cs-CZ" dirty="0">
                <a:solidFill>
                  <a:schemeClr val="tx1">
                    <a:lumMod val="100000"/>
                  </a:schemeClr>
                </a:solidFill>
                <a:latin typeface="Trebuchet MS" panose="020B0603020202020204" pitchFamily="34" charset="0"/>
              </a:rPr>
              <a:t> </a:t>
            </a:r>
            <a:r>
              <a:rPr lang="cs-CZ" dirty="0" err="1">
                <a:solidFill>
                  <a:schemeClr val="tx1">
                    <a:lumMod val="100000"/>
                  </a:schemeClr>
                </a:solidFill>
                <a:latin typeface="Trebuchet MS" panose="020B0603020202020204" pitchFamily="34" charset="0"/>
              </a:rPr>
              <a:t>around</a:t>
            </a:r>
            <a:r>
              <a:rPr lang="cs-CZ" dirty="0">
                <a:solidFill>
                  <a:schemeClr val="tx1">
                    <a:lumMod val="100000"/>
                  </a:schemeClr>
                </a:solidFill>
                <a:latin typeface="Trebuchet MS" panose="020B0603020202020204" pitchFamily="34" charset="0"/>
              </a:rPr>
              <a:t> Real </a:t>
            </a:r>
            <a:r>
              <a:rPr lang="cs-CZ" dirty="0" err="1">
                <a:solidFill>
                  <a:schemeClr val="tx1">
                    <a:lumMod val="100000"/>
                  </a:schemeClr>
                </a:solidFill>
                <a:latin typeface="Trebuchet MS" panose="020B0603020202020204" pitchFamily="34" charset="0"/>
              </a:rPr>
              <a:t>Estate</a:t>
            </a:r>
            <a:endParaRPr lang="en-US" sz="2000" dirty="0">
              <a:solidFill>
                <a:schemeClr val="tx1">
                  <a:lumMod val="100000"/>
                </a:schemeClr>
              </a:solidFill>
              <a:latin typeface="Trebuchet MS" panose="020B0603020202020204" pitchFamily="34" charset="0"/>
            </a:endParaRPr>
          </a:p>
        </p:txBody>
      </p:sp>
    </p:spTree>
    <p:extLst>
      <p:ext uri="{BB962C8B-B14F-4D97-AF65-F5344CB8AC3E}">
        <p14:creationId xmlns:p14="http://schemas.microsoft.com/office/powerpoint/2010/main" val="12266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9"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grpSp>
        <p:nvGrpSpPr>
          <p:cNvPr id="7" name="bcgIcons_B2B">
            <a:extLst>
              <a:ext uri="{FF2B5EF4-FFF2-40B4-BE49-F238E27FC236}">
                <a16:creationId xmlns:a16="http://schemas.microsoft.com/office/drawing/2014/main" id="{E9569CE4-D81F-4CFC-B5DE-4FDD204D4FB1}"/>
              </a:ext>
            </a:extLst>
          </p:cNvPr>
          <p:cNvGrpSpPr>
            <a:grpSpLocks noChangeAspect="1"/>
          </p:cNvGrpSpPr>
          <p:nvPr/>
        </p:nvGrpSpPr>
        <p:grpSpPr bwMode="auto">
          <a:xfrm>
            <a:off x="4655840" y="1564238"/>
            <a:ext cx="2661829" cy="2664296"/>
            <a:chOff x="1682" y="0"/>
            <a:chExt cx="4316" cy="4320"/>
          </a:xfrm>
        </p:grpSpPr>
        <p:sp>
          <p:nvSpPr>
            <p:cNvPr id="8" name="AutoShape 8">
              <a:extLst>
                <a:ext uri="{FF2B5EF4-FFF2-40B4-BE49-F238E27FC236}">
                  <a16:creationId xmlns:a16="http://schemas.microsoft.com/office/drawing/2014/main" id="{66F75EE8-723D-4DAC-8E75-4A44E7EC862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9" name="Freeform 10">
              <a:extLst>
                <a:ext uri="{FF2B5EF4-FFF2-40B4-BE49-F238E27FC236}">
                  <a16:creationId xmlns:a16="http://schemas.microsoft.com/office/drawing/2014/main" id="{B75759B7-06A2-4A8F-B5AE-0B5FD7B74E4F}"/>
                </a:ext>
              </a:extLst>
            </p:cNvPr>
            <p:cNvSpPr>
              <a:spLocks noEditPoints="1"/>
            </p:cNvSpPr>
            <p:nvPr/>
          </p:nvSpPr>
          <p:spPr bwMode="auto">
            <a:xfrm>
              <a:off x="1987" y="638"/>
              <a:ext cx="3400" cy="2491"/>
            </a:xfrm>
            <a:custGeom>
              <a:avLst/>
              <a:gdLst>
                <a:gd name="T0" fmla="*/ 678 w 1815"/>
                <a:gd name="T1" fmla="*/ 1247 h 1329"/>
                <a:gd name="T2" fmla="*/ 46 w 1815"/>
                <a:gd name="T3" fmla="*/ 1247 h 1329"/>
                <a:gd name="T4" fmla="*/ 0 w 1815"/>
                <a:gd name="T5" fmla="*/ 1274 h 1329"/>
                <a:gd name="T6" fmla="*/ 712 w 1815"/>
                <a:gd name="T7" fmla="*/ 1329 h 1329"/>
                <a:gd name="T8" fmla="*/ 712 w 1815"/>
                <a:gd name="T9" fmla="*/ 1262 h 1329"/>
                <a:gd name="T10" fmla="*/ 616 w 1815"/>
                <a:gd name="T11" fmla="*/ 285 h 1329"/>
                <a:gd name="T12" fmla="*/ 108 w 1815"/>
                <a:gd name="T13" fmla="*/ 285 h 1329"/>
                <a:gd name="T14" fmla="*/ 24 w 1815"/>
                <a:gd name="T15" fmla="*/ 357 h 1329"/>
                <a:gd name="T16" fmla="*/ 57 w 1815"/>
                <a:gd name="T17" fmla="*/ 441 h 1329"/>
                <a:gd name="T18" fmla="*/ 101 w 1815"/>
                <a:gd name="T19" fmla="*/ 419 h 1329"/>
                <a:gd name="T20" fmla="*/ 68 w 1815"/>
                <a:gd name="T21" fmla="*/ 379 h 1329"/>
                <a:gd name="T22" fmla="*/ 645 w 1815"/>
                <a:gd name="T23" fmla="*/ 397 h 1329"/>
                <a:gd name="T24" fmla="*/ 667 w 1815"/>
                <a:gd name="T25" fmla="*/ 1200 h 1329"/>
                <a:gd name="T26" fmla="*/ 700 w 1815"/>
                <a:gd name="T27" fmla="*/ 419 h 1329"/>
                <a:gd name="T28" fmla="*/ 142 w 1815"/>
                <a:gd name="T29" fmla="*/ 316 h 1329"/>
                <a:gd name="T30" fmla="*/ 133 w 1815"/>
                <a:gd name="T31" fmla="*/ 335 h 1329"/>
                <a:gd name="T32" fmla="*/ 1485 w 1815"/>
                <a:gd name="T33" fmla="*/ 1200 h 1329"/>
                <a:gd name="T34" fmla="*/ 1485 w 1815"/>
                <a:gd name="T35" fmla="*/ 1016 h 1329"/>
                <a:gd name="T36" fmla="*/ 1607 w 1815"/>
                <a:gd name="T37" fmla="*/ 1190 h 1329"/>
                <a:gd name="T38" fmla="*/ 1639 w 1815"/>
                <a:gd name="T39" fmla="*/ 1200 h 1329"/>
                <a:gd name="T40" fmla="*/ 1639 w 1815"/>
                <a:gd name="T41" fmla="*/ 1016 h 1329"/>
                <a:gd name="T42" fmla="*/ 1761 w 1815"/>
                <a:gd name="T43" fmla="*/ 1190 h 1329"/>
                <a:gd name="T44" fmla="*/ 1565 w 1815"/>
                <a:gd name="T45" fmla="*/ 436 h 1329"/>
                <a:gd name="T46" fmla="*/ 1671 w 1815"/>
                <a:gd name="T47" fmla="*/ 436 h 1329"/>
                <a:gd name="T48" fmla="*/ 1575 w 1815"/>
                <a:gd name="T49" fmla="*/ 574 h 1329"/>
                <a:gd name="T50" fmla="*/ 1565 w 1815"/>
                <a:gd name="T51" fmla="*/ 613 h 1329"/>
                <a:gd name="T52" fmla="*/ 1671 w 1815"/>
                <a:gd name="T53" fmla="*/ 613 h 1329"/>
                <a:gd name="T54" fmla="*/ 1575 w 1815"/>
                <a:gd name="T55" fmla="*/ 750 h 1329"/>
                <a:gd name="T56" fmla="*/ 1421 w 1815"/>
                <a:gd name="T57" fmla="*/ 436 h 1329"/>
                <a:gd name="T58" fmla="*/ 1527 w 1815"/>
                <a:gd name="T59" fmla="*/ 436 h 1329"/>
                <a:gd name="T60" fmla="*/ 1431 w 1815"/>
                <a:gd name="T61" fmla="*/ 574 h 1329"/>
                <a:gd name="T62" fmla="*/ 1421 w 1815"/>
                <a:gd name="T63" fmla="*/ 613 h 1329"/>
                <a:gd name="T64" fmla="*/ 1527 w 1815"/>
                <a:gd name="T65" fmla="*/ 613 h 1329"/>
                <a:gd name="T66" fmla="*/ 1431 w 1815"/>
                <a:gd name="T67" fmla="*/ 750 h 1329"/>
                <a:gd name="T68" fmla="*/ 1709 w 1815"/>
                <a:gd name="T69" fmla="*/ 436 h 1329"/>
                <a:gd name="T70" fmla="*/ 1815 w 1815"/>
                <a:gd name="T71" fmla="*/ 436 h 1329"/>
                <a:gd name="T72" fmla="*/ 1719 w 1815"/>
                <a:gd name="T73" fmla="*/ 574 h 1329"/>
                <a:gd name="T74" fmla="*/ 1709 w 1815"/>
                <a:gd name="T75" fmla="*/ 613 h 1329"/>
                <a:gd name="T76" fmla="*/ 1815 w 1815"/>
                <a:gd name="T77" fmla="*/ 613 h 1329"/>
                <a:gd name="T78" fmla="*/ 1719 w 1815"/>
                <a:gd name="T79" fmla="*/ 750 h 1329"/>
                <a:gd name="T80" fmla="*/ 1565 w 1815"/>
                <a:gd name="T81" fmla="*/ 789 h 1329"/>
                <a:gd name="T82" fmla="*/ 1671 w 1815"/>
                <a:gd name="T83" fmla="*/ 789 h 1329"/>
                <a:gd name="T84" fmla="*/ 1575 w 1815"/>
                <a:gd name="T85" fmla="*/ 927 h 1329"/>
                <a:gd name="T86" fmla="*/ 1421 w 1815"/>
                <a:gd name="T87" fmla="*/ 789 h 1329"/>
                <a:gd name="T88" fmla="*/ 1527 w 1815"/>
                <a:gd name="T89" fmla="*/ 789 h 1329"/>
                <a:gd name="T90" fmla="*/ 1431 w 1815"/>
                <a:gd name="T91" fmla="*/ 927 h 1329"/>
                <a:gd name="T92" fmla="*/ 1709 w 1815"/>
                <a:gd name="T93" fmla="*/ 789 h 1329"/>
                <a:gd name="T94" fmla="*/ 1815 w 1815"/>
                <a:gd name="T95" fmla="*/ 789 h 1329"/>
                <a:gd name="T96" fmla="*/ 1719 w 1815"/>
                <a:gd name="T97" fmla="*/ 927 h 1329"/>
                <a:gd name="T98" fmla="*/ 1493 w 1815"/>
                <a:gd name="T99" fmla="*/ 197 h 1329"/>
                <a:gd name="T100" fmla="*/ 1491 w 1815"/>
                <a:gd name="T101" fmla="*/ 201 h 1329"/>
                <a:gd name="T102" fmla="*/ 1488 w 1815"/>
                <a:gd name="T103" fmla="*/ 204 h 1329"/>
                <a:gd name="T104" fmla="*/ 1481 w 1815"/>
                <a:gd name="T105" fmla="*/ 208 h 1329"/>
                <a:gd name="T106" fmla="*/ 1476 w 1815"/>
                <a:gd name="T107" fmla="*/ 209 h 1329"/>
                <a:gd name="T108" fmla="*/ 1379 w 1815"/>
                <a:gd name="T109" fmla="*/ 213 h 1329"/>
                <a:gd name="T110" fmla="*/ 1409 w 1815"/>
                <a:gd name="T111" fmla="*/ 168 h 1329"/>
                <a:gd name="T112" fmla="*/ 506 w 1815"/>
                <a:gd name="T113" fmla="*/ 210 h 1329"/>
                <a:gd name="T114" fmla="*/ 990 w 1815"/>
                <a:gd name="T115" fmla="*/ 0 h 1329"/>
                <a:gd name="T116" fmla="*/ 1436 w 1815"/>
                <a:gd name="T117" fmla="*/ 77 h 1329"/>
                <a:gd name="T118" fmla="*/ 1495 w 1815"/>
                <a:gd name="T119" fmla="*/ 181 h 1329"/>
                <a:gd name="T120" fmla="*/ 1496 w 1815"/>
                <a:gd name="T121" fmla="*/ 185 h 1329"/>
                <a:gd name="T122" fmla="*/ 1495 w 1815"/>
                <a:gd name="T123" fmla="*/ 193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29">
                  <a:moveTo>
                    <a:pt x="712" y="1262"/>
                  </a:moveTo>
                  <a:cubicBezTo>
                    <a:pt x="678" y="1262"/>
                    <a:pt x="678" y="1262"/>
                    <a:pt x="678" y="1262"/>
                  </a:cubicBezTo>
                  <a:cubicBezTo>
                    <a:pt x="678" y="1247"/>
                    <a:pt x="678" y="1247"/>
                    <a:pt x="678" y="1247"/>
                  </a:cubicBezTo>
                  <a:cubicBezTo>
                    <a:pt x="678" y="1240"/>
                    <a:pt x="673" y="1235"/>
                    <a:pt x="666" y="1235"/>
                  </a:cubicBezTo>
                  <a:cubicBezTo>
                    <a:pt x="57" y="1235"/>
                    <a:pt x="57" y="1235"/>
                    <a:pt x="57" y="1235"/>
                  </a:cubicBezTo>
                  <a:cubicBezTo>
                    <a:pt x="51" y="1235"/>
                    <a:pt x="46" y="1240"/>
                    <a:pt x="46" y="1247"/>
                  </a:cubicBezTo>
                  <a:cubicBezTo>
                    <a:pt x="46" y="1262"/>
                    <a:pt x="46" y="1262"/>
                    <a:pt x="46" y="1262"/>
                  </a:cubicBezTo>
                  <a:cubicBezTo>
                    <a:pt x="12" y="1262"/>
                    <a:pt x="12" y="1262"/>
                    <a:pt x="12" y="1262"/>
                  </a:cubicBezTo>
                  <a:cubicBezTo>
                    <a:pt x="5" y="1262"/>
                    <a:pt x="0" y="1268"/>
                    <a:pt x="0" y="1274"/>
                  </a:cubicBezTo>
                  <a:cubicBezTo>
                    <a:pt x="0" y="1318"/>
                    <a:pt x="0" y="1318"/>
                    <a:pt x="0" y="1318"/>
                  </a:cubicBezTo>
                  <a:cubicBezTo>
                    <a:pt x="0" y="1324"/>
                    <a:pt x="5" y="1329"/>
                    <a:pt x="12" y="1329"/>
                  </a:cubicBezTo>
                  <a:cubicBezTo>
                    <a:pt x="712" y="1329"/>
                    <a:pt x="712" y="1329"/>
                    <a:pt x="712" y="1329"/>
                  </a:cubicBezTo>
                  <a:cubicBezTo>
                    <a:pt x="719" y="1329"/>
                    <a:pt x="724" y="1324"/>
                    <a:pt x="724" y="1318"/>
                  </a:cubicBezTo>
                  <a:cubicBezTo>
                    <a:pt x="724" y="1274"/>
                    <a:pt x="724" y="1274"/>
                    <a:pt x="724" y="1274"/>
                  </a:cubicBezTo>
                  <a:cubicBezTo>
                    <a:pt x="724" y="1268"/>
                    <a:pt x="719" y="1262"/>
                    <a:pt x="712" y="1262"/>
                  </a:cubicBezTo>
                  <a:close/>
                  <a:moveTo>
                    <a:pt x="678" y="335"/>
                  </a:moveTo>
                  <a:cubicBezTo>
                    <a:pt x="639" y="335"/>
                    <a:pt x="639" y="335"/>
                    <a:pt x="639" y="335"/>
                  </a:cubicBezTo>
                  <a:cubicBezTo>
                    <a:pt x="616" y="285"/>
                    <a:pt x="616" y="285"/>
                    <a:pt x="616" y="285"/>
                  </a:cubicBezTo>
                  <a:cubicBezTo>
                    <a:pt x="612" y="277"/>
                    <a:pt x="604" y="272"/>
                    <a:pt x="596" y="272"/>
                  </a:cubicBezTo>
                  <a:cubicBezTo>
                    <a:pt x="128" y="272"/>
                    <a:pt x="128" y="272"/>
                    <a:pt x="128" y="272"/>
                  </a:cubicBezTo>
                  <a:cubicBezTo>
                    <a:pt x="120" y="272"/>
                    <a:pt x="112" y="277"/>
                    <a:pt x="108" y="285"/>
                  </a:cubicBezTo>
                  <a:cubicBezTo>
                    <a:pt x="85" y="335"/>
                    <a:pt x="85" y="335"/>
                    <a:pt x="85" y="335"/>
                  </a:cubicBezTo>
                  <a:cubicBezTo>
                    <a:pt x="46" y="335"/>
                    <a:pt x="46" y="335"/>
                    <a:pt x="46" y="335"/>
                  </a:cubicBezTo>
                  <a:cubicBezTo>
                    <a:pt x="34" y="335"/>
                    <a:pt x="24" y="345"/>
                    <a:pt x="24" y="357"/>
                  </a:cubicBezTo>
                  <a:cubicBezTo>
                    <a:pt x="24" y="419"/>
                    <a:pt x="24" y="419"/>
                    <a:pt x="24" y="419"/>
                  </a:cubicBezTo>
                  <a:cubicBezTo>
                    <a:pt x="24" y="431"/>
                    <a:pt x="34" y="441"/>
                    <a:pt x="46" y="441"/>
                  </a:cubicBezTo>
                  <a:cubicBezTo>
                    <a:pt x="57" y="441"/>
                    <a:pt x="57" y="441"/>
                    <a:pt x="57" y="441"/>
                  </a:cubicBezTo>
                  <a:cubicBezTo>
                    <a:pt x="57" y="1200"/>
                    <a:pt x="57" y="1200"/>
                    <a:pt x="57" y="1200"/>
                  </a:cubicBezTo>
                  <a:cubicBezTo>
                    <a:pt x="101" y="1200"/>
                    <a:pt x="101" y="1200"/>
                    <a:pt x="101" y="1200"/>
                  </a:cubicBezTo>
                  <a:cubicBezTo>
                    <a:pt x="101" y="419"/>
                    <a:pt x="101" y="419"/>
                    <a:pt x="101" y="419"/>
                  </a:cubicBezTo>
                  <a:cubicBezTo>
                    <a:pt x="101" y="407"/>
                    <a:pt x="91" y="397"/>
                    <a:pt x="79" y="397"/>
                  </a:cubicBezTo>
                  <a:cubicBezTo>
                    <a:pt x="68" y="397"/>
                    <a:pt x="68" y="397"/>
                    <a:pt x="68" y="397"/>
                  </a:cubicBezTo>
                  <a:cubicBezTo>
                    <a:pt x="68" y="379"/>
                    <a:pt x="68" y="379"/>
                    <a:pt x="68" y="379"/>
                  </a:cubicBezTo>
                  <a:cubicBezTo>
                    <a:pt x="656" y="379"/>
                    <a:pt x="656" y="379"/>
                    <a:pt x="656" y="379"/>
                  </a:cubicBezTo>
                  <a:cubicBezTo>
                    <a:pt x="656" y="397"/>
                    <a:pt x="656" y="397"/>
                    <a:pt x="656" y="397"/>
                  </a:cubicBezTo>
                  <a:cubicBezTo>
                    <a:pt x="645" y="397"/>
                    <a:pt x="645" y="397"/>
                    <a:pt x="645" y="397"/>
                  </a:cubicBezTo>
                  <a:cubicBezTo>
                    <a:pt x="632" y="397"/>
                    <a:pt x="623" y="407"/>
                    <a:pt x="623" y="419"/>
                  </a:cubicBezTo>
                  <a:cubicBezTo>
                    <a:pt x="623" y="1200"/>
                    <a:pt x="623" y="1200"/>
                    <a:pt x="623" y="1200"/>
                  </a:cubicBezTo>
                  <a:cubicBezTo>
                    <a:pt x="667" y="1200"/>
                    <a:pt x="667" y="1200"/>
                    <a:pt x="667" y="1200"/>
                  </a:cubicBezTo>
                  <a:cubicBezTo>
                    <a:pt x="667" y="441"/>
                    <a:pt x="667" y="441"/>
                    <a:pt x="667" y="441"/>
                  </a:cubicBezTo>
                  <a:cubicBezTo>
                    <a:pt x="678" y="441"/>
                    <a:pt x="678" y="441"/>
                    <a:pt x="678" y="441"/>
                  </a:cubicBezTo>
                  <a:cubicBezTo>
                    <a:pt x="690" y="441"/>
                    <a:pt x="700" y="431"/>
                    <a:pt x="700" y="419"/>
                  </a:cubicBezTo>
                  <a:cubicBezTo>
                    <a:pt x="700" y="357"/>
                    <a:pt x="700" y="357"/>
                    <a:pt x="700" y="357"/>
                  </a:cubicBezTo>
                  <a:cubicBezTo>
                    <a:pt x="700" y="345"/>
                    <a:pt x="690" y="335"/>
                    <a:pt x="678" y="335"/>
                  </a:cubicBezTo>
                  <a:close/>
                  <a:moveTo>
                    <a:pt x="142" y="316"/>
                  </a:moveTo>
                  <a:cubicBezTo>
                    <a:pt x="582" y="316"/>
                    <a:pt x="582" y="316"/>
                    <a:pt x="582" y="316"/>
                  </a:cubicBezTo>
                  <a:cubicBezTo>
                    <a:pt x="591" y="335"/>
                    <a:pt x="591" y="335"/>
                    <a:pt x="591" y="335"/>
                  </a:cubicBezTo>
                  <a:cubicBezTo>
                    <a:pt x="133" y="335"/>
                    <a:pt x="133" y="335"/>
                    <a:pt x="133" y="335"/>
                  </a:cubicBezTo>
                  <a:lnTo>
                    <a:pt x="142" y="316"/>
                  </a:lnTo>
                  <a:close/>
                  <a:moveTo>
                    <a:pt x="1597" y="1200"/>
                  </a:moveTo>
                  <a:cubicBezTo>
                    <a:pt x="1485" y="1200"/>
                    <a:pt x="1485" y="1200"/>
                    <a:pt x="1485" y="1200"/>
                  </a:cubicBezTo>
                  <a:cubicBezTo>
                    <a:pt x="1480" y="1200"/>
                    <a:pt x="1475" y="1195"/>
                    <a:pt x="1475" y="1190"/>
                  </a:cubicBezTo>
                  <a:cubicBezTo>
                    <a:pt x="1475" y="1026"/>
                    <a:pt x="1475" y="1026"/>
                    <a:pt x="1475" y="1026"/>
                  </a:cubicBezTo>
                  <a:cubicBezTo>
                    <a:pt x="1475" y="1021"/>
                    <a:pt x="1480" y="1016"/>
                    <a:pt x="1485" y="1016"/>
                  </a:cubicBezTo>
                  <a:cubicBezTo>
                    <a:pt x="1597" y="1016"/>
                    <a:pt x="1597" y="1016"/>
                    <a:pt x="1597" y="1016"/>
                  </a:cubicBezTo>
                  <a:cubicBezTo>
                    <a:pt x="1603" y="1016"/>
                    <a:pt x="1607" y="1021"/>
                    <a:pt x="1607" y="1026"/>
                  </a:cubicBezTo>
                  <a:cubicBezTo>
                    <a:pt x="1607" y="1190"/>
                    <a:pt x="1607" y="1190"/>
                    <a:pt x="1607" y="1190"/>
                  </a:cubicBezTo>
                  <a:cubicBezTo>
                    <a:pt x="1607" y="1195"/>
                    <a:pt x="1603" y="1200"/>
                    <a:pt x="1597" y="1200"/>
                  </a:cubicBezTo>
                  <a:close/>
                  <a:moveTo>
                    <a:pt x="1751" y="1200"/>
                  </a:moveTo>
                  <a:cubicBezTo>
                    <a:pt x="1639" y="1200"/>
                    <a:pt x="1639" y="1200"/>
                    <a:pt x="1639" y="1200"/>
                  </a:cubicBezTo>
                  <a:cubicBezTo>
                    <a:pt x="1633" y="1200"/>
                    <a:pt x="1629" y="1195"/>
                    <a:pt x="1629" y="1190"/>
                  </a:cubicBezTo>
                  <a:cubicBezTo>
                    <a:pt x="1629" y="1026"/>
                    <a:pt x="1629" y="1026"/>
                    <a:pt x="1629" y="1026"/>
                  </a:cubicBezTo>
                  <a:cubicBezTo>
                    <a:pt x="1629" y="1021"/>
                    <a:pt x="1633" y="1016"/>
                    <a:pt x="1639" y="1016"/>
                  </a:cubicBezTo>
                  <a:cubicBezTo>
                    <a:pt x="1751" y="1016"/>
                    <a:pt x="1751" y="1016"/>
                    <a:pt x="1751" y="1016"/>
                  </a:cubicBezTo>
                  <a:cubicBezTo>
                    <a:pt x="1756" y="1016"/>
                    <a:pt x="1761" y="1021"/>
                    <a:pt x="1761" y="1026"/>
                  </a:cubicBezTo>
                  <a:cubicBezTo>
                    <a:pt x="1761" y="1190"/>
                    <a:pt x="1761" y="1190"/>
                    <a:pt x="1761" y="1190"/>
                  </a:cubicBezTo>
                  <a:cubicBezTo>
                    <a:pt x="1761" y="1195"/>
                    <a:pt x="1756" y="1200"/>
                    <a:pt x="1751" y="1200"/>
                  </a:cubicBezTo>
                  <a:close/>
                  <a:moveTo>
                    <a:pt x="1565" y="564"/>
                  </a:moveTo>
                  <a:cubicBezTo>
                    <a:pt x="1565" y="436"/>
                    <a:pt x="1565" y="436"/>
                    <a:pt x="1565" y="436"/>
                  </a:cubicBezTo>
                  <a:cubicBezTo>
                    <a:pt x="1565" y="430"/>
                    <a:pt x="1569" y="426"/>
                    <a:pt x="1575" y="426"/>
                  </a:cubicBezTo>
                  <a:cubicBezTo>
                    <a:pt x="1661" y="426"/>
                    <a:pt x="1661" y="426"/>
                    <a:pt x="1661" y="426"/>
                  </a:cubicBezTo>
                  <a:cubicBezTo>
                    <a:pt x="1667" y="426"/>
                    <a:pt x="1671" y="430"/>
                    <a:pt x="1671" y="436"/>
                  </a:cubicBezTo>
                  <a:cubicBezTo>
                    <a:pt x="1671" y="564"/>
                    <a:pt x="1671" y="564"/>
                    <a:pt x="1671" y="564"/>
                  </a:cubicBezTo>
                  <a:cubicBezTo>
                    <a:pt x="1671" y="569"/>
                    <a:pt x="1667" y="574"/>
                    <a:pt x="1661" y="574"/>
                  </a:cubicBezTo>
                  <a:cubicBezTo>
                    <a:pt x="1575" y="574"/>
                    <a:pt x="1575" y="574"/>
                    <a:pt x="1575" y="574"/>
                  </a:cubicBezTo>
                  <a:cubicBezTo>
                    <a:pt x="1569" y="574"/>
                    <a:pt x="1565" y="569"/>
                    <a:pt x="1565" y="564"/>
                  </a:cubicBezTo>
                  <a:close/>
                  <a:moveTo>
                    <a:pt x="1565" y="740"/>
                  </a:moveTo>
                  <a:cubicBezTo>
                    <a:pt x="1565" y="613"/>
                    <a:pt x="1565" y="613"/>
                    <a:pt x="1565" y="613"/>
                  </a:cubicBezTo>
                  <a:cubicBezTo>
                    <a:pt x="1565" y="607"/>
                    <a:pt x="1569" y="603"/>
                    <a:pt x="1575" y="603"/>
                  </a:cubicBezTo>
                  <a:cubicBezTo>
                    <a:pt x="1661" y="603"/>
                    <a:pt x="1661" y="603"/>
                    <a:pt x="1661" y="603"/>
                  </a:cubicBezTo>
                  <a:cubicBezTo>
                    <a:pt x="1667" y="603"/>
                    <a:pt x="1671" y="607"/>
                    <a:pt x="1671" y="613"/>
                  </a:cubicBezTo>
                  <a:cubicBezTo>
                    <a:pt x="1671" y="740"/>
                    <a:pt x="1671" y="740"/>
                    <a:pt x="1671" y="740"/>
                  </a:cubicBezTo>
                  <a:cubicBezTo>
                    <a:pt x="1671" y="746"/>
                    <a:pt x="1667" y="750"/>
                    <a:pt x="1661" y="750"/>
                  </a:cubicBezTo>
                  <a:cubicBezTo>
                    <a:pt x="1575" y="750"/>
                    <a:pt x="1575" y="750"/>
                    <a:pt x="1575" y="750"/>
                  </a:cubicBezTo>
                  <a:cubicBezTo>
                    <a:pt x="1569" y="750"/>
                    <a:pt x="1565" y="746"/>
                    <a:pt x="1565" y="740"/>
                  </a:cubicBezTo>
                  <a:close/>
                  <a:moveTo>
                    <a:pt x="1421" y="564"/>
                  </a:moveTo>
                  <a:cubicBezTo>
                    <a:pt x="1421" y="436"/>
                    <a:pt x="1421" y="436"/>
                    <a:pt x="1421" y="436"/>
                  </a:cubicBezTo>
                  <a:cubicBezTo>
                    <a:pt x="1421" y="430"/>
                    <a:pt x="1425" y="426"/>
                    <a:pt x="1431" y="426"/>
                  </a:cubicBezTo>
                  <a:cubicBezTo>
                    <a:pt x="1517" y="426"/>
                    <a:pt x="1517" y="426"/>
                    <a:pt x="1517" y="426"/>
                  </a:cubicBezTo>
                  <a:cubicBezTo>
                    <a:pt x="1523" y="426"/>
                    <a:pt x="1527" y="430"/>
                    <a:pt x="1527" y="436"/>
                  </a:cubicBezTo>
                  <a:cubicBezTo>
                    <a:pt x="1527" y="564"/>
                    <a:pt x="1527" y="564"/>
                    <a:pt x="1527" y="564"/>
                  </a:cubicBezTo>
                  <a:cubicBezTo>
                    <a:pt x="1527" y="569"/>
                    <a:pt x="1523" y="574"/>
                    <a:pt x="1517" y="574"/>
                  </a:cubicBezTo>
                  <a:cubicBezTo>
                    <a:pt x="1431" y="574"/>
                    <a:pt x="1431" y="574"/>
                    <a:pt x="1431" y="574"/>
                  </a:cubicBezTo>
                  <a:cubicBezTo>
                    <a:pt x="1425" y="574"/>
                    <a:pt x="1421" y="569"/>
                    <a:pt x="1421" y="564"/>
                  </a:cubicBezTo>
                  <a:close/>
                  <a:moveTo>
                    <a:pt x="1421" y="740"/>
                  </a:moveTo>
                  <a:cubicBezTo>
                    <a:pt x="1421" y="613"/>
                    <a:pt x="1421" y="613"/>
                    <a:pt x="1421" y="613"/>
                  </a:cubicBezTo>
                  <a:cubicBezTo>
                    <a:pt x="1421" y="607"/>
                    <a:pt x="1425" y="603"/>
                    <a:pt x="1431" y="603"/>
                  </a:cubicBezTo>
                  <a:cubicBezTo>
                    <a:pt x="1517" y="603"/>
                    <a:pt x="1517" y="603"/>
                    <a:pt x="1517" y="603"/>
                  </a:cubicBezTo>
                  <a:cubicBezTo>
                    <a:pt x="1523" y="603"/>
                    <a:pt x="1527" y="607"/>
                    <a:pt x="1527" y="613"/>
                  </a:cubicBezTo>
                  <a:cubicBezTo>
                    <a:pt x="1527" y="740"/>
                    <a:pt x="1527" y="740"/>
                    <a:pt x="1527" y="740"/>
                  </a:cubicBezTo>
                  <a:cubicBezTo>
                    <a:pt x="1527" y="746"/>
                    <a:pt x="1523" y="750"/>
                    <a:pt x="1517" y="750"/>
                  </a:cubicBezTo>
                  <a:cubicBezTo>
                    <a:pt x="1431" y="750"/>
                    <a:pt x="1431" y="750"/>
                    <a:pt x="1431" y="750"/>
                  </a:cubicBezTo>
                  <a:cubicBezTo>
                    <a:pt x="1425" y="750"/>
                    <a:pt x="1421" y="746"/>
                    <a:pt x="1421" y="740"/>
                  </a:cubicBezTo>
                  <a:close/>
                  <a:moveTo>
                    <a:pt x="1709" y="564"/>
                  </a:moveTo>
                  <a:cubicBezTo>
                    <a:pt x="1709" y="436"/>
                    <a:pt x="1709" y="436"/>
                    <a:pt x="1709" y="436"/>
                  </a:cubicBezTo>
                  <a:cubicBezTo>
                    <a:pt x="1709" y="430"/>
                    <a:pt x="1713" y="426"/>
                    <a:pt x="1719" y="426"/>
                  </a:cubicBezTo>
                  <a:cubicBezTo>
                    <a:pt x="1805" y="426"/>
                    <a:pt x="1805" y="426"/>
                    <a:pt x="1805" y="426"/>
                  </a:cubicBezTo>
                  <a:cubicBezTo>
                    <a:pt x="1811" y="426"/>
                    <a:pt x="1815" y="430"/>
                    <a:pt x="1815" y="436"/>
                  </a:cubicBezTo>
                  <a:cubicBezTo>
                    <a:pt x="1815" y="564"/>
                    <a:pt x="1815" y="564"/>
                    <a:pt x="1815" y="564"/>
                  </a:cubicBezTo>
                  <a:cubicBezTo>
                    <a:pt x="1815" y="569"/>
                    <a:pt x="1811" y="574"/>
                    <a:pt x="1805" y="574"/>
                  </a:cubicBezTo>
                  <a:cubicBezTo>
                    <a:pt x="1719" y="574"/>
                    <a:pt x="1719" y="574"/>
                    <a:pt x="1719" y="574"/>
                  </a:cubicBezTo>
                  <a:cubicBezTo>
                    <a:pt x="1713" y="574"/>
                    <a:pt x="1709" y="569"/>
                    <a:pt x="1709" y="564"/>
                  </a:cubicBezTo>
                  <a:close/>
                  <a:moveTo>
                    <a:pt x="1709" y="740"/>
                  </a:moveTo>
                  <a:cubicBezTo>
                    <a:pt x="1709" y="613"/>
                    <a:pt x="1709" y="613"/>
                    <a:pt x="1709" y="613"/>
                  </a:cubicBezTo>
                  <a:cubicBezTo>
                    <a:pt x="1709" y="607"/>
                    <a:pt x="1713" y="603"/>
                    <a:pt x="1719" y="603"/>
                  </a:cubicBezTo>
                  <a:cubicBezTo>
                    <a:pt x="1805" y="603"/>
                    <a:pt x="1805" y="603"/>
                    <a:pt x="1805" y="603"/>
                  </a:cubicBezTo>
                  <a:cubicBezTo>
                    <a:pt x="1811" y="603"/>
                    <a:pt x="1815" y="607"/>
                    <a:pt x="1815" y="613"/>
                  </a:cubicBezTo>
                  <a:cubicBezTo>
                    <a:pt x="1815" y="740"/>
                    <a:pt x="1815" y="740"/>
                    <a:pt x="1815" y="740"/>
                  </a:cubicBezTo>
                  <a:cubicBezTo>
                    <a:pt x="1815" y="746"/>
                    <a:pt x="1811" y="750"/>
                    <a:pt x="1805" y="750"/>
                  </a:cubicBezTo>
                  <a:cubicBezTo>
                    <a:pt x="1719" y="750"/>
                    <a:pt x="1719" y="750"/>
                    <a:pt x="1719" y="750"/>
                  </a:cubicBezTo>
                  <a:cubicBezTo>
                    <a:pt x="1713" y="750"/>
                    <a:pt x="1709" y="746"/>
                    <a:pt x="1709" y="740"/>
                  </a:cubicBezTo>
                  <a:close/>
                  <a:moveTo>
                    <a:pt x="1565" y="917"/>
                  </a:moveTo>
                  <a:cubicBezTo>
                    <a:pt x="1565" y="789"/>
                    <a:pt x="1565" y="789"/>
                    <a:pt x="1565" y="789"/>
                  </a:cubicBezTo>
                  <a:cubicBezTo>
                    <a:pt x="1565" y="784"/>
                    <a:pt x="1569" y="779"/>
                    <a:pt x="1575" y="779"/>
                  </a:cubicBezTo>
                  <a:cubicBezTo>
                    <a:pt x="1661" y="779"/>
                    <a:pt x="1661" y="779"/>
                    <a:pt x="1661" y="779"/>
                  </a:cubicBezTo>
                  <a:cubicBezTo>
                    <a:pt x="1667" y="779"/>
                    <a:pt x="1671" y="784"/>
                    <a:pt x="1671" y="789"/>
                  </a:cubicBezTo>
                  <a:cubicBezTo>
                    <a:pt x="1671" y="917"/>
                    <a:pt x="1671" y="917"/>
                    <a:pt x="1671" y="917"/>
                  </a:cubicBezTo>
                  <a:cubicBezTo>
                    <a:pt x="1671" y="923"/>
                    <a:pt x="1667" y="927"/>
                    <a:pt x="1661" y="927"/>
                  </a:cubicBezTo>
                  <a:cubicBezTo>
                    <a:pt x="1575" y="927"/>
                    <a:pt x="1575" y="927"/>
                    <a:pt x="1575" y="927"/>
                  </a:cubicBezTo>
                  <a:cubicBezTo>
                    <a:pt x="1569" y="927"/>
                    <a:pt x="1565" y="923"/>
                    <a:pt x="1565" y="917"/>
                  </a:cubicBezTo>
                  <a:close/>
                  <a:moveTo>
                    <a:pt x="1421" y="917"/>
                  </a:moveTo>
                  <a:cubicBezTo>
                    <a:pt x="1421" y="789"/>
                    <a:pt x="1421" y="789"/>
                    <a:pt x="1421" y="789"/>
                  </a:cubicBezTo>
                  <a:cubicBezTo>
                    <a:pt x="1421" y="784"/>
                    <a:pt x="1425" y="779"/>
                    <a:pt x="1431" y="779"/>
                  </a:cubicBezTo>
                  <a:cubicBezTo>
                    <a:pt x="1517" y="779"/>
                    <a:pt x="1517" y="779"/>
                    <a:pt x="1517" y="779"/>
                  </a:cubicBezTo>
                  <a:cubicBezTo>
                    <a:pt x="1523" y="779"/>
                    <a:pt x="1527" y="784"/>
                    <a:pt x="1527" y="789"/>
                  </a:cubicBezTo>
                  <a:cubicBezTo>
                    <a:pt x="1527" y="917"/>
                    <a:pt x="1527" y="917"/>
                    <a:pt x="1527" y="917"/>
                  </a:cubicBezTo>
                  <a:cubicBezTo>
                    <a:pt x="1527" y="923"/>
                    <a:pt x="1523" y="927"/>
                    <a:pt x="1517" y="927"/>
                  </a:cubicBezTo>
                  <a:cubicBezTo>
                    <a:pt x="1431" y="927"/>
                    <a:pt x="1431" y="927"/>
                    <a:pt x="1431" y="927"/>
                  </a:cubicBezTo>
                  <a:cubicBezTo>
                    <a:pt x="1425" y="927"/>
                    <a:pt x="1421" y="923"/>
                    <a:pt x="1421" y="917"/>
                  </a:cubicBezTo>
                  <a:close/>
                  <a:moveTo>
                    <a:pt x="1709" y="917"/>
                  </a:moveTo>
                  <a:cubicBezTo>
                    <a:pt x="1709" y="789"/>
                    <a:pt x="1709" y="789"/>
                    <a:pt x="1709" y="789"/>
                  </a:cubicBezTo>
                  <a:cubicBezTo>
                    <a:pt x="1709" y="784"/>
                    <a:pt x="1713" y="779"/>
                    <a:pt x="1719" y="779"/>
                  </a:cubicBezTo>
                  <a:cubicBezTo>
                    <a:pt x="1805" y="779"/>
                    <a:pt x="1805" y="779"/>
                    <a:pt x="1805" y="779"/>
                  </a:cubicBezTo>
                  <a:cubicBezTo>
                    <a:pt x="1811" y="779"/>
                    <a:pt x="1815" y="784"/>
                    <a:pt x="1815" y="789"/>
                  </a:cubicBezTo>
                  <a:cubicBezTo>
                    <a:pt x="1815" y="917"/>
                    <a:pt x="1815" y="917"/>
                    <a:pt x="1815" y="917"/>
                  </a:cubicBezTo>
                  <a:cubicBezTo>
                    <a:pt x="1815" y="923"/>
                    <a:pt x="1811" y="927"/>
                    <a:pt x="1805" y="927"/>
                  </a:cubicBezTo>
                  <a:cubicBezTo>
                    <a:pt x="1719" y="927"/>
                    <a:pt x="1719" y="927"/>
                    <a:pt x="1719" y="927"/>
                  </a:cubicBezTo>
                  <a:cubicBezTo>
                    <a:pt x="1713" y="927"/>
                    <a:pt x="1709" y="923"/>
                    <a:pt x="1709" y="917"/>
                  </a:cubicBezTo>
                  <a:close/>
                  <a:moveTo>
                    <a:pt x="1494" y="197"/>
                  </a:moveTo>
                  <a:cubicBezTo>
                    <a:pt x="1494" y="197"/>
                    <a:pt x="1494" y="197"/>
                    <a:pt x="1493" y="197"/>
                  </a:cubicBezTo>
                  <a:cubicBezTo>
                    <a:pt x="1493" y="198"/>
                    <a:pt x="1493" y="199"/>
                    <a:pt x="1492" y="200"/>
                  </a:cubicBezTo>
                  <a:cubicBezTo>
                    <a:pt x="1492" y="200"/>
                    <a:pt x="1492" y="201"/>
                    <a:pt x="1491" y="201"/>
                  </a:cubicBezTo>
                  <a:cubicBezTo>
                    <a:pt x="1491" y="201"/>
                    <a:pt x="1491" y="201"/>
                    <a:pt x="1491" y="201"/>
                  </a:cubicBezTo>
                  <a:cubicBezTo>
                    <a:pt x="1491" y="201"/>
                    <a:pt x="1491" y="201"/>
                    <a:pt x="1491" y="201"/>
                  </a:cubicBezTo>
                  <a:cubicBezTo>
                    <a:pt x="1490" y="202"/>
                    <a:pt x="1489" y="203"/>
                    <a:pt x="1488" y="204"/>
                  </a:cubicBezTo>
                  <a:cubicBezTo>
                    <a:pt x="1488" y="204"/>
                    <a:pt x="1488" y="204"/>
                    <a:pt x="1488" y="204"/>
                  </a:cubicBezTo>
                  <a:cubicBezTo>
                    <a:pt x="1487" y="205"/>
                    <a:pt x="1486" y="206"/>
                    <a:pt x="1485" y="207"/>
                  </a:cubicBezTo>
                  <a:cubicBezTo>
                    <a:pt x="1485" y="207"/>
                    <a:pt x="1485" y="207"/>
                    <a:pt x="1485" y="207"/>
                  </a:cubicBezTo>
                  <a:cubicBezTo>
                    <a:pt x="1483" y="207"/>
                    <a:pt x="1482" y="208"/>
                    <a:pt x="1481" y="208"/>
                  </a:cubicBezTo>
                  <a:cubicBezTo>
                    <a:pt x="1481" y="208"/>
                    <a:pt x="1481" y="209"/>
                    <a:pt x="1481" y="209"/>
                  </a:cubicBezTo>
                  <a:cubicBezTo>
                    <a:pt x="1479" y="209"/>
                    <a:pt x="1478" y="209"/>
                    <a:pt x="1477" y="209"/>
                  </a:cubicBezTo>
                  <a:cubicBezTo>
                    <a:pt x="1477" y="209"/>
                    <a:pt x="1477" y="209"/>
                    <a:pt x="1476" y="209"/>
                  </a:cubicBezTo>
                  <a:cubicBezTo>
                    <a:pt x="1476" y="210"/>
                    <a:pt x="1475" y="210"/>
                    <a:pt x="1475" y="210"/>
                  </a:cubicBezTo>
                  <a:cubicBezTo>
                    <a:pt x="1380" y="213"/>
                    <a:pt x="1380" y="213"/>
                    <a:pt x="1380" y="213"/>
                  </a:cubicBezTo>
                  <a:cubicBezTo>
                    <a:pt x="1379" y="213"/>
                    <a:pt x="1379" y="213"/>
                    <a:pt x="1379" y="213"/>
                  </a:cubicBezTo>
                  <a:cubicBezTo>
                    <a:pt x="1367" y="213"/>
                    <a:pt x="1357" y="204"/>
                    <a:pt x="1357" y="192"/>
                  </a:cubicBezTo>
                  <a:cubicBezTo>
                    <a:pt x="1356" y="180"/>
                    <a:pt x="1366" y="170"/>
                    <a:pt x="1378" y="169"/>
                  </a:cubicBezTo>
                  <a:cubicBezTo>
                    <a:pt x="1409" y="168"/>
                    <a:pt x="1409" y="168"/>
                    <a:pt x="1409" y="168"/>
                  </a:cubicBezTo>
                  <a:cubicBezTo>
                    <a:pt x="1284" y="87"/>
                    <a:pt x="1141" y="44"/>
                    <a:pt x="990" y="44"/>
                  </a:cubicBezTo>
                  <a:cubicBezTo>
                    <a:pt x="818" y="44"/>
                    <a:pt x="655" y="100"/>
                    <a:pt x="520" y="205"/>
                  </a:cubicBezTo>
                  <a:cubicBezTo>
                    <a:pt x="516" y="208"/>
                    <a:pt x="511" y="210"/>
                    <a:pt x="506" y="210"/>
                  </a:cubicBezTo>
                  <a:cubicBezTo>
                    <a:pt x="500" y="210"/>
                    <a:pt x="493" y="207"/>
                    <a:pt x="489" y="201"/>
                  </a:cubicBezTo>
                  <a:cubicBezTo>
                    <a:pt x="481" y="192"/>
                    <a:pt x="483" y="178"/>
                    <a:pt x="493" y="170"/>
                  </a:cubicBezTo>
                  <a:cubicBezTo>
                    <a:pt x="636" y="59"/>
                    <a:pt x="808" y="0"/>
                    <a:pt x="990" y="0"/>
                  </a:cubicBezTo>
                  <a:cubicBezTo>
                    <a:pt x="1149" y="0"/>
                    <a:pt x="1300" y="45"/>
                    <a:pt x="1431" y="130"/>
                  </a:cubicBezTo>
                  <a:cubicBezTo>
                    <a:pt x="1423" y="104"/>
                    <a:pt x="1423" y="104"/>
                    <a:pt x="1423" y="104"/>
                  </a:cubicBezTo>
                  <a:cubicBezTo>
                    <a:pt x="1419" y="93"/>
                    <a:pt x="1425" y="80"/>
                    <a:pt x="1436" y="77"/>
                  </a:cubicBezTo>
                  <a:cubicBezTo>
                    <a:pt x="1448" y="73"/>
                    <a:pt x="1460" y="79"/>
                    <a:pt x="1464" y="90"/>
                  </a:cubicBezTo>
                  <a:cubicBezTo>
                    <a:pt x="1495" y="181"/>
                    <a:pt x="1495" y="181"/>
                    <a:pt x="1495" y="181"/>
                  </a:cubicBezTo>
                  <a:cubicBezTo>
                    <a:pt x="1495" y="181"/>
                    <a:pt x="1495" y="181"/>
                    <a:pt x="1495" y="181"/>
                  </a:cubicBezTo>
                  <a:cubicBezTo>
                    <a:pt x="1495" y="181"/>
                    <a:pt x="1495" y="181"/>
                    <a:pt x="1495" y="181"/>
                  </a:cubicBezTo>
                  <a:cubicBezTo>
                    <a:pt x="1495" y="182"/>
                    <a:pt x="1495" y="183"/>
                    <a:pt x="1496" y="184"/>
                  </a:cubicBezTo>
                  <a:cubicBezTo>
                    <a:pt x="1496" y="185"/>
                    <a:pt x="1496" y="185"/>
                    <a:pt x="1496" y="185"/>
                  </a:cubicBezTo>
                  <a:cubicBezTo>
                    <a:pt x="1496" y="186"/>
                    <a:pt x="1496" y="188"/>
                    <a:pt x="1496" y="189"/>
                  </a:cubicBezTo>
                  <a:cubicBezTo>
                    <a:pt x="1496" y="189"/>
                    <a:pt x="1496" y="189"/>
                    <a:pt x="1496" y="189"/>
                  </a:cubicBezTo>
                  <a:cubicBezTo>
                    <a:pt x="1496" y="191"/>
                    <a:pt x="1495" y="192"/>
                    <a:pt x="1495" y="193"/>
                  </a:cubicBezTo>
                  <a:cubicBezTo>
                    <a:pt x="1495" y="193"/>
                    <a:pt x="1495" y="193"/>
                    <a:pt x="1495" y="193"/>
                  </a:cubicBezTo>
                  <a:cubicBezTo>
                    <a:pt x="1495" y="195"/>
                    <a:pt x="1494" y="196"/>
                    <a:pt x="1494" y="1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0" name="Freeform 11">
              <a:extLst>
                <a:ext uri="{FF2B5EF4-FFF2-40B4-BE49-F238E27FC236}">
                  <a16:creationId xmlns:a16="http://schemas.microsoft.com/office/drawing/2014/main" id="{227C96BA-06A7-4823-A39C-2AABCCD147AF}"/>
                </a:ext>
              </a:extLst>
            </p:cNvPr>
            <p:cNvSpPr>
              <a:spLocks noEditPoints="1"/>
            </p:cNvSpPr>
            <p:nvPr/>
          </p:nvSpPr>
          <p:spPr bwMode="auto">
            <a:xfrm>
              <a:off x="2296" y="1148"/>
              <a:ext cx="3400" cy="2538"/>
            </a:xfrm>
            <a:custGeom>
              <a:avLst/>
              <a:gdLst>
                <a:gd name="T0" fmla="*/ 54 w 1815"/>
                <a:gd name="T1" fmla="*/ 918 h 1354"/>
                <a:gd name="T2" fmla="*/ 176 w 1815"/>
                <a:gd name="T3" fmla="*/ 744 h 1354"/>
                <a:gd name="T4" fmla="*/ 176 w 1815"/>
                <a:gd name="T5" fmla="*/ 928 h 1354"/>
                <a:gd name="T6" fmla="*/ 330 w 1815"/>
                <a:gd name="T7" fmla="*/ 744 h 1354"/>
                <a:gd name="T8" fmla="*/ 208 w 1815"/>
                <a:gd name="T9" fmla="*/ 918 h 1354"/>
                <a:gd name="T10" fmla="*/ 340 w 1815"/>
                <a:gd name="T11" fmla="*/ 918 h 1354"/>
                <a:gd name="T12" fmla="*/ 250 w 1815"/>
                <a:gd name="T13" fmla="*/ 292 h 1354"/>
                <a:gd name="T14" fmla="*/ 154 w 1815"/>
                <a:gd name="T15" fmla="*/ 154 h 1354"/>
                <a:gd name="T16" fmla="*/ 154 w 1815"/>
                <a:gd name="T17" fmla="*/ 302 h 1354"/>
                <a:gd name="T18" fmla="*/ 250 w 1815"/>
                <a:gd name="T19" fmla="*/ 468 h 1354"/>
                <a:gd name="T20" fmla="*/ 154 w 1815"/>
                <a:gd name="T21" fmla="*/ 331 h 1354"/>
                <a:gd name="T22" fmla="*/ 154 w 1815"/>
                <a:gd name="T23" fmla="*/ 478 h 1354"/>
                <a:gd name="T24" fmla="*/ 106 w 1815"/>
                <a:gd name="T25" fmla="*/ 292 h 1354"/>
                <a:gd name="T26" fmla="*/ 10 w 1815"/>
                <a:gd name="T27" fmla="*/ 154 h 1354"/>
                <a:gd name="T28" fmla="*/ 10 w 1815"/>
                <a:gd name="T29" fmla="*/ 302 h 1354"/>
                <a:gd name="T30" fmla="*/ 106 w 1815"/>
                <a:gd name="T31" fmla="*/ 468 h 1354"/>
                <a:gd name="T32" fmla="*/ 10 w 1815"/>
                <a:gd name="T33" fmla="*/ 331 h 1354"/>
                <a:gd name="T34" fmla="*/ 10 w 1815"/>
                <a:gd name="T35" fmla="*/ 478 h 1354"/>
                <a:gd name="T36" fmla="*/ 394 w 1815"/>
                <a:gd name="T37" fmla="*/ 292 h 1354"/>
                <a:gd name="T38" fmla="*/ 298 w 1815"/>
                <a:gd name="T39" fmla="*/ 154 h 1354"/>
                <a:gd name="T40" fmla="*/ 298 w 1815"/>
                <a:gd name="T41" fmla="*/ 302 h 1354"/>
                <a:gd name="T42" fmla="*/ 394 w 1815"/>
                <a:gd name="T43" fmla="*/ 468 h 1354"/>
                <a:gd name="T44" fmla="*/ 298 w 1815"/>
                <a:gd name="T45" fmla="*/ 331 h 1354"/>
                <a:gd name="T46" fmla="*/ 298 w 1815"/>
                <a:gd name="T47" fmla="*/ 478 h 1354"/>
                <a:gd name="T48" fmla="*/ 250 w 1815"/>
                <a:gd name="T49" fmla="*/ 645 h 1354"/>
                <a:gd name="T50" fmla="*/ 154 w 1815"/>
                <a:gd name="T51" fmla="*/ 507 h 1354"/>
                <a:gd name="T52" fmla="*/ 154 w 1815"/>
                <a:gd name="T53" fmla="*/ 655 h 1354"/>
                <a:gd name="T54" fmla="*/ 106 w 1815"/>
                <a:gd name="T55" fmla="*/ 645 h 1354"/>
                <a:gd name="T56" fmla="*/ 10 w 1815"/>
                <a:gd name="T57" fmla="*/ 507 h 1354"/>
                <a:gd name="T58" fmla="*/ 10 w 1815"/>
                <a:gd name="T59" fmla="*/ 655 h 1354"/>
                <a:gd name="T60" fmla="*/ 394 w 1815"/>
                <a:gd name="T61" fmla="*/ 645 h 1354"/>
                <a:gd name="T62" fmla="*/ 298 w 1815"/>
                <a:gd name="T63" fmla="*/ 507 h 1354"/>
                <a:gd name="T64" fmla="*/ 298 w 1815"/>
                <a:gd name="T65" fmla="*/ 655 h 1354"/>
                <a:gd name="T66" fmla="*/ 1803 w 1815"/>
                <a:gd name="T67" fmla="*/ 1057 h 1354"/>
                <a:gd name="T68" fmla="*/ 1091 w 1815"/>
                <a:gd name="T69" fmla="*/ 1002 h 1354"/>
                <a:gd name="T70" fmla="*/ 1137 w 1815"/>
                <a:gd name="T71" fmla="*/ 975 h 1354"/>
                <a:gd name="T72" fmla="*/ 1769 w 1815"/>
                <a:gd name="T73" fmla="*/ 975 h 1354"/>
                <a:gd name="T74" fmla="*/ 1815 w 1815"/>
                <a:gd name="T75" fmla="*/ 1002 h 1354"/>
                <a:gd name="T76" fmla="*/ 1769 w 1815"/>
                <a:gd name="T77" fmla="*/ 169 h 1354"/>
                <a:gd name="T78" fmla="*/ 1714 w 1815"/>
                <a:gd name="T79" fmla="*/ 928 h 1354"/>
                <a:gd name="T80" fmla="*/ 1747 w 1815"/>
                <a:gd name="T81" fmla="*/ 125 h 1354"/>
                <a:gd name="T82" fmla="*/ 1159 w 1815"/>
                <a:gd name="T83" fmla="*/ 125 h 1354"/>
                <a:gd name="T84" fmla="*/ 1192 w 1815"/>
                <a:gd name="T85" fmla="*/ 928 h 1354"/>
                <a:gd name="T86" fmla="*/ 1137 w 1815"/>
                <a:gd name="T87" fmla="*/ 169 h 1354"/>
                <a:gd name="T88" fmla="*/ 1137 w 1815"/>
                <a:gd name="T89" fmla="*/ 63 h 1354"/>
                <a:gd name="T90" fmla="*/ 1219 w 1815"/>
                <a:gd name="T91" fmla="*/ 0 h 1354"/>
                <a:gd name="T92" fmla="*/ 1730 w 1815"/>
                <a:gd name="T93" fmla="*/ 63 h 1354"/>
                <a:gd name="T94" fmla="*/ 1224 w 1815"/>
                <a:gd name="T95" fmla="*/ 63 h 1354"/>
                <a:gd name="T96" fmla="*/ 1233 w 1815"/>
                <a:gd name="T97" fmla="*/ 44 h 1354"/>
                <a:gd name="T98" fmla="*/ 1295 w 1815"/>
                <a:gd name="T99" fmla="*/ 1149 h 1354"/>
                <a:gd name="T100" fmla="*/ 437 w 1815"/>
                <a:gd name="T101" fmla="*/ 1185 h 1354"/>
                <a:gd name="T102" fmla="*/ 340 w 1815"/>
                <a:gd name="T103" fmla="*/ 1144 h 1354"/>
                <a:gd name="T104" fmla="*/ 334 w 1815"/>
                <a:gd name="T105" fmla="*/ 1145 h 1354"/>
                <a:gd name="T106" fmla="*/ 330 w 1815"/>
                <a:gd name="T107" fmla="*/ 1147 h 1354"/>
                <a:gd name="T108" fmla="*/ 324 w 1815"/>
                <a:gd name="T109" fmla="*/ 1153 h 1354"/>
                <a:gd name="T110" fmla="*/ 323 w 1815"/>
                <a:gd name="T111" fmla="*/ 1154 h 1354"/>
                <a:gd name="T112" fmla="*/ 320 w 1815"/>
                <a:gd name="T113" fmla="*/ 1161 h 1354"/>
                <a:gd name="T114" fmla="*/ 319 w 1815"/>
                <a:gd name="T115" fmla="*/ 1165 h 1354"/>
                <a:gd name="T116" fmla="*/ 320 w 1815"/>
                <a:gd name="T117" fmla="*/ 1173 h 1354"/>
                <a:gd name="T118" fmla="*/ 351 w 1815"/>
                <a:gd name="T119" fmla="*/ 1264 h 1354"/>
                <a:gd name="T120" fmla="*/ 392 w 1815"/>
                <a:gd name="T121" fmla="*/ 1250 h 1354"/>
                <a:gd name="T122" fmla="*/ 1322 w 1815"/>
                <a:gd name="T123" fmla="*/ 11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54">
                  <a:moveTo>
                    <a:pt x="176" y="928"/>
                  </a:moveTo>
                  <a:cubicBezTo>
                    <a:pt x="64" y="928"/>
                    <a:pt x="64" y="928"/>
                    <a:pt x="64" y="928"/>
                  </a:cubicBezTo>
                  <a:cubicBezTo>
                    <a:pt x="59" y="928"/>
                    <a:pt x="54" y="923"/>
                    <a:pt x="54" y="918"/>
                  </a:cubicBezTo>
                  <a:cubicBezTo>
                    <a:pt x="54" y="754"/>
                    <a:pt x="54" y="754"/>
                    <a:pt x="54" y="754"/>
                  </a:cubicBezTo>
                  <a:cubicBezTo>
                    <a:pt x="54" y="749"/>
                    <a:pt x="59" y="744"/>
                    <a:pt x="64" y="744"/>
                  </a:cubicBezTo>
                  <a:cubicBezTo>
                    <a:pt x="176" y="744"/>
                    <a:pt x="176" y="744"/>
                    <a:pt x="176" y="744"/>
                  </a:cubicBezTo>
                  <a:cubicBezTo>
                    <a:pt x="182" y="744"/>
                    <a:pt x="186" y="749"/>
                    <a:pt x="186" y="754"/>
                  </a:cubicBezTo>
                  <a:cubicBezTo>
                    <a:pt x="186" y="918"/>
                    <a:pt x="186" y="918"/>
                    <a:pt x="186" y="918"/>
                  </a:cubicBezTo>
                  <a:cubicBezTo>
                    <a:pt x="186" y="923"/>
                    <a:pt x="182" y="928"/>
                    <a:pt x="176" y="928"/>
                  </a:cubicBezTo>
                  <a:close/>
                  <a:moveTo>
                    <a:pt x="340" y="918"/>
                  </a:moveTo>
                  <a:cubicBezTo>
                    <a:pt x="340" y="754"/>
                    <a:pt x="340" y="754"/>
                    <a:pt x="340" y="754"/>
                  </a:cubicBezTo>
                  <a:cubicBezTo>
                    <a:pt x="340" y="749"/>
                    <a:pt x="335" y="744"/>
                    <a:pt x="330" y="744"/>
                  </a:cubicBezTo>
                  <a:cubicBezTo>
                    <a:pt x="218" y="744"/>
                    <a:pt x="218" y="744"/>
                    <a:pt x="218" y="744"/>
                  </a:cubicBezTo>
                  <a:cubicBezTo>
                    <a:pt x="212" y="744"/>
                    <a:pt x="208" y="749"/>
                    <a:pt x="208" y="754"/>
                  </a:cubicBezTo>
                  <a:cubicBezTo>
                    <a:pt x="208" y="918"/>
                    <a:pt x="208" y="918"/>
                    <a:pt x="208" y="918"/>
                  </a:cubicBezTo>
                  <a:cubicBezTo>
                    <a:pt x="208" y="923"/>
                    <a:pt x="212" y="928"/>
                    <a:pt x="218" y="928"/>
                  </a:cubicBezTo>
                  <a:cubicBezTo>
                    <a:pt x="330" y="928"/>
                    <a:pt x="330" y="928"/>
                    <a:pt x="330" y="928"/>
                  </a:cubicBezTo>
                  <a:cubicBezTo>
                    <a:pt x="335" y="928"/>
                    <a:pt x="340" y="923"/>
                    <a:pt x="340" y="918"/>
                  </a:cubicBezTo>
                  <a:close/>
                  <a:moveTo>
                    <a:pt x="154" y="302"/>
                  </a:moveTo>
                  <a:cubicBezTo>
                    <a:pt x="240" y="302"/>
                    <a:pt x="240" y="302"/>
                    <a:pt x="240" y="302"/>
                  </a:cubicBezTo>
                  <a:cubicBezTo>
                    <a:pt x="246" y="302"/>
                    <a:pt x="250" y="297"/>
                    <a:pt x="250" y="292"/>
                  </a:cubicBezTo>
                  <a:cubicBezTo>
                    <a:pt x="250" y="164"/>
                    <a:pt x="250" y="164"/>
                    <a:pt x="250" y="164"/>
                  </a:cubicBezTo>
                  <a:cubicBezTo>
                    <a:pt x="250" y="158"/>
                    <a:pt x="246" y="154"/>
                    <a:pt x="240" y="154"/>
                  </a:cubicBezTo>
                  <a:cubicBezTo>
                    <a:pt x="154" y="154"/>
                    <a:pt x="154" y="154"/>
                    <a:pt x="154" y="154"/>
                  </a:cubicBezTo>
                  <a:cubicBezTo>
                    <a:pt x="148" y="154"/>
                    <a:pt x="144" y="158"/>
                    <a:pt x="144" y="164"/>
                  </a:cubicBezTo>
                  <a:cubicBezTo>
                    <a:pt x="144" y="292"/>
                    <a:pt x="144" y="292"/>
                    <a:pt x="144" y="292"/>
                  </a:cubicBezTo>
                  <a:cubicBezTo>
                    <a:pt x="144" y="297"/>
                    <a:pt x="148" y="302"/>
                    <a:pt x="154" y="302"/>
                  </a:cubicBezTo>
                  <a:close/>
                  <a:moveTo>
                    <a:pt x="154" y="478"/>
                  </a:moveTo>
                  <a:cubicBezTo>
                    <a:pt x="240" y="478"/>
                    <a:pt x="240" y="478"/>
                    <a:pt x="240" y="478"/>
                  </a:cubicBezTo>
                  <a:cubicBezTo>
                    <a:pt x="246" y="478"/>
                    <a:pt x="250" y="474"/>
                    <a:pt x="250" y="468"/>
                  </a:cubicBezTo>
                  <a:cubicBezTo>
                    <a:pt x="250" y="341"/>
                    <a:pt x="250" y="341"/>
                    <a:pt x="250" y="341"/>
                  </a:cubicBezTo>
                  <a:cubicBezTo>
                    <a:pt x="250" y="335"/>
                    <a:pt x="246" y="331"/>
                    <a:pt x="240" y="331"/>
                  </a:cubicBezTo>
                  <a:cubicBezTo>
                    <a:pt x="154" y="331"/>
                    <a:pt x="154" y="331"/>
                    <a:pt x="154" y="331"/>
                  </a:cubicBezTo>
                  <a:cubicBezTo>
                    <a:pt x="148" y="331"/>
                    <a:pt x="144" y="335"/>
                    <a:pt x="144" y="341"/>
                  </a:cubicBezTo>
                  <a:cubicBezTo>
                    <a:pt x="144" y="468"/>
                    <a:pt x="144" y="468"/>
                    <a:pt x="144" y="468"/>
                  </a:cubicBezTo>
                  <a:cubicBezTo>
                    <a:pt x="144" y="474"/>
                    <a:pt x="148" y="478"/>
                    <a:pt x="154" y="478"/>
                  </a:cubicBezTo>
                  <a:close/>
                  <a:moveTo>
                    <a:pt x="10" y="302"/>
                  </a:moveTo>
                  <a:cubicBezTo>
                    <a:pt x="96" y="302"/>
                    <a:pt x="96" y="302"/>
                    <a:pt x="96" y="302"/>
                  </a:cubicBezTo>
                  <a:cubicBezTo>
                    <a:pt x="102" y="302"/>
                    <a:pt x="106" y="297"/>
                    <a:pt x="106" y="292"/>
                  </a:cubicBezTo>
                  <a:cubicBezTo>
                    <a:pt x="106" y="164"/>
                    <a:pt x="106" y="164"/>
                    <a:pt x="106" y="164"/>
                  </a:cubicBezTo>
                  <a:cubicBezTo>
                    <a:pt x="106" y="158"/>
                    <a:pt x="102" y="154"/>
                    <a:pt x="96" y="154"/>
                  </a:cubicBezTo>
                  <a:cubicBezTo>
                    <a:pt x="10" y="154"/>
                    <a:pt x="10" y="154"/>
                    <a:pt x="10" y="154"/>
                  </a:cubicBezTo>
                  <a:cubicBezTo>
                    <a:pt x="4" y="154"/>
                    <a:pt x="0" y="158"/>
                    <a:pt x="0" y="164"/>
                  </a:cubicBezTo>
                  <a:cubicBezTo>
                    <a:pt x="0" y="292"/>
                    <a:pt x="0" y="292"/>
                    <a:pt x="0" y="292"/>
                  </a:cubicBezTo>
                  <a:cubicBezTo>
                    <a:pt x="0" y="297"/>
                    <a:pt x="4" y="302"/>
                    <a:pt x="10" y="302"/>
                  </a:cubicBezTo>
                  <a:close/>
                  <a:moveTo>
                    <a:pt x="10" y="478"/>
                  </a:moveTo>
                  <a:cubicBezTo>
                    <a:pt x="96" y="478"/>
                    <a:pt x="96" y="478"/>
                    <a:pt x="96" y="478"/>
                  </a:cubicBezTo>
                  <a:cubicBezTo>
                    <a:pt x="102" y="478"/>
                    <a:pt x="106" y="474"/>
                    <a:pt x="106" y="468"/>
                  </a:cubicBezTo>
                  <a:cubicBezTo>
                    <a:pt x="106" y="341"/>
                    <a:pt x="106" y="341"/>
                    <a:pt x="106" y="341"/>
                  </a:cubicBezTo>
                  <a:cubicBezTo>
                    <a:pt x="106" y="335"/>
                    <a:pt x="102" y="331"/>
                    <a:pt x="96" y="331"/>
                  </a:cubicBezTo>
                  <a:cubicBezTo>
                    <a:pt x="10" y="331"/>
                    <a:pt x="10" y="331"/>
                    <a:pt x="10" y="331"/>
                  </a:cubicBezTo>
                  <a:cubicBezTo>
                    <a:pt x="4" y="331"/>
                    <a:pt x="0" y="335"/>
                    <a:pt x="0" y="341"/>
                  </a:cubicBezTo>
                  <a:cubicBezTo>
                    <a:pt x="0" y="468"/>
                    <a:pt x="0" y="468"/>
                    <a:pt x="0" y="468"/>
                  </a:cubicBezTo>
                  <a:cubicBezTo>
                    <a:pt x="0" y="474"/>
                    <a:pt x="4" y="478"/>
                    <a:pt x="10" y="478"/>
                  </a:cubicBezTo>
                  <a:close/>
                  <a:moveTo>
                    <a:pt x="298" y="302"/>
                  </a:moveTo>
                  <a:cubicBezTo>
                    <a:pt x="384" y="302"/>
                    <a:pt x="384" y="302"/>
                    <a:pt x="384" y="302"/>
                  </a:cubicBezTo>
                  <a:cubicBezTo>
                    <a:pt x="390" y="302"/>
                    <a:pt x="394" y="297"/>
                    <a:pt x="394" y="292"/>
                  </a:cubicBezTo>
                  <a:cubicBezTo>
                    <a:pt x="394" y="164"/>
                    <a:pt x="394" y="164"/>
                    <a:pt x="394" y="164"/>
                  </a:cubicBezTo>
                  <a:cubicBezTo>
                    <a:pt x="394" y="158"/>
                    <a:pt x="390" y="154"/>
                    <a:pt x="384" y="154"/>
                  </a:cubicBezTo>
                  <a:cubicBezTo>
                    <a:pt x="298" y="154"/>
                    <a:pt x="298" y="154"/>
                    <a:pt x="298" y="154"/>
                  </a:cubicBezTo>
                  <a:cubicBezTo>
                    <a:pt x="292" y="154"/>
                    <a:pt x="288" y="158"/>
                    <a:pt x="288" y="164"/>
                  </a:cubicBezTo>
                  <a:cubicBezTo>
                    <a:pt x="288" y="292"/>
                    <a:pt x="288" y="292"/>
                    <a:pt x="288" y="292"/>
                  </a:cubicBezTo>
                  <a:cubicBezTo>
                    <a:pt x="288" y="297"/>
                    <a:pt x="292" y="302"/>
                    <a:pt x="298" y="302"/>
                  </a:cubicBezTo>
                  <a:close/>
                  <a:moveTo>
                    <a:pt x="298" y="478"/>
                  </a:moveTo>
                  <a:cubicBezTo>
                    <a:pt x="384" y="478"/>
                    <a:pt x="384" y="478"/>
                    <a:pt x="384" y="478"/>
                  </a:cubicBezTo>
                  <a:cubicBezTo>
                    <a:pt x="390" y="478"/>
                    <a:pt x="394" y="474"/>
                    <a:pt x="394" y="468"/>
                  </a:cubicBezTo>
                  <a:cubicBezTo>
                    <a:pt x="394" y="341"/>
                    <a:pt x="394" y="341"/>
                    <a:pt x="394" y="341"/>
                  </a:cubicBezTo>
                  <a:cubicBezTo>
                    <a:pt x="394" y="335"/>
                    <a:pt x="390" y="331"/>
                    <a:pt x="384" y="331"/>
                  </a:cubicBezTo>
                  <a:cubicBezTo>
                    <a:pt x="298" y="331"/>
                    <a:pt x="298" y="331"/>
                    <a:pt x="298" y="331"/>
                  </a:cubicBezTo>
                  <a:cubicBezTo>
                    <a:pt x="292" y="331"/>
                    <a:pt x="288" y="335"/>
                    <a:pt x="288" y="341"/>
                  </a:cubicBezTo>
                  <a:cubicBezTo>
                    <a:pt x="288" y="468"/>
                    <a:pt x="288" y="468"/>
                    <a:pt x="288" y="468"/>
                  </a:cubicBezTo>
                  <a:cubicBezTo>
                    <a:pt x="288" y="474"/>
                    <a:pt x="292" y="478"/>
                    <a:pt x="298" y="478"/>
                  </a:cubicBezTo>
                  <a:close/>
                  <a:moveTo>
                    <a:pt x="154" y="655"/>
                  </a:moveTo>
                  <a:cubicBezTo>
                    <a:pt x="240" y="655"/>
                    <a:pt x="240" y="655"/>
                    <a:pt x="240" y="655"/>
                  </a:cubicBezTo>
                  <a:cubicBezTo>
                    <a:pt x="246" y="655"/>
                    <a:pt x="250" y="651"/>
                    <a:pt x="250" y="645"/>
                  </a:cubicBezTo>
                  <a:cubicBezTo>
                    <a:pt x="250" y="517"/>
                    <a:pt x="250" y="517"/>
                    <a:pt x="250" y="517"/>
                  </a:cubicBezTo>
                  <a:cubicBezTo>
                    <a:pt x="250" y="512"/>
                    <a:pt x="246" y="507"/>
                    <a:pt x="240" y="507"/>
                  </a:cubicBezTo>
                  <a:cubicBezTo>
                    <a:pt x="154" y="507"/>
                    <a:pt x="154" y="507"/>
                    <a:pt x="154" y="507"/>
                  </a:cubicBezTo>
                  <a:cubicBezTo>
                    <a:pt x="148" y="507"/>
                    <a:pt x="144" y="512"/>
                    <a:pt x="144" y="517"/>
                  </a:cubicBezTo>
                  <a:cubicBezTo>
                    <a:pt x="144" y="645"/>
                    <a:pt x="144" y="645"/>
                    <a:pt x="144" y="645"/>
                  </a:cubicBezTo>
                  <a:cubicBezTo>
                    <a:pt x="144" y="651"/>
                    <a:pt x="148" y="655"/>
                    <a:pt x="154" y="655"/>
                  </a:cubicBezTo>
                  <a:close/>
                  <a:moveTo>
                    <a:pt x="10" y="655"/>
                  </a:moveTo>
                  <a:cubicBezTo>
                    <a:pt x="96" y="655"/>
                    <a:pt x="96" y="655"/>
                    <a:pt x="96" y="655"/>
                  </a:cubicBezTo>
                  <a:cubicBezTo>
                    <a:pt x="102" y="655"/>
                    <a:pt x="106" y="651"/>
                    <a:pt x="106" y="645"/>
                  </a:cubicBezTo>
                  <a:cubicBezTo>
                    <a:pt x="106" y="517"/>
                    <a:pt x="106" y="517"/>
                    <a:pt x="106" y="517"/>
                  </a:cubicBezTo>
                  <a:cubicBezTo>
                    <a:pt x="106" y="512"/>
                    <a:pt x="102" y="507"/>
                    <a:pt x="96" y="507"/>
                  </a:cubicBezTo>
                  <a:cubicBezTo>
                    <a:pt x="10" y="507"/>
                    <a:pt x="10" y="507"/>
                    <a:pt x="10" y="507"/>
                  </a:cubicBezTo>
                  <a:cubicBezTo>
                    <a:pt x="4" y="507"/>
                    <a:pt x="0" y="512"/>
                    <a:pt x="0" y="517"/>
                  </a:cubicBezTo>
                  <a:cubicBezTo>
                    <a:pt x="0" y="645"/>
                    <a:pt x="0" y="645"/>
                    <a:pt x="0" y="645"/>
                  </a:cubicBezTo>
                  <a:cubicBezTo>
                    <a:pt x="0" y="651"/>
                    <a:pt x="4" y="655"/>
                    <a:pt x="10" y="655"/>
                  </a:cubicBezTo>
                  <a:close/>
                  <a:moveTo>
                    <a:pt x="298" y="655"/>
                  </a:moveTo>
                  <a:cubicBezTo>
                    <a:pt x="384" y="655"/>
                    <a:pt x="384" y="655"/>
                    <a:pt x="384" y="655"/>
                  </a:cubicBezTo>
                  <a:cubicBezTo>
                    <a:pt x="390" y="655"/>
                    <a:pt x="394" y="651"/>
                    <a:pt x="394" y="645"/>
                  </a:cubicBezTo>
                  <a:cubicBezTo>
                    <a:pt x="394" y="517"/>
                    <a:pt x="394" y="517"/>
                    <a:pt x="394" y="517"/>
                  </a:cubicBezTo>
                  <a:cubicBezTo>
                    <a:pt x="394" y="512"/>
                    <a:pt x="390" y="507"/>
                    <a:pt x="384" y="507"/>
                  </a:cubicBezTo>
                  <a:cubicBezTo>
                    <a:pt x="298" y="507"/>
                    <a:pt x="298" y="507"/>
                    <a:pt x="298" y="507"/>
                  </a:cubicBezTo>
                  <a:cubicBezTo>
                    <a:pt x="292" y="507"/>
                    <a:pt x="288" y="512"/>
                    <a:pt x="288" y="517"/>
                  </a:cubicBezTo>
                  <a:cubicBezTo>
                    <a:pt x="288" y="645"/>
                    <a:pt x="288" y="645"/>
                    <a:pt x="288" y="645"/>
                  </a:cubicBezTo>
                  <a:cubicBezTo>
                    <a:pt x="288" y="651"/>
                    <a:pt x="292" y="655"/>
                    <a:pt x="298" y="655"/>
                  </a:cubicBezTo>
                  <a:close/>
                  <a:moveTo>
                    <a:pt x="1815" y="1002"/>
                  </a:moveTo>
                  <a:cubicBezTo>
                    <a:pt x="1815" y="1046"/>
                    <a:pt x="1815" y="1046"/>
                    <a:pt x="1815" y="1046"/>
                  </a:cubicBezTo>
                  <a:cubicBezTo>
                    <a:pt x="1815" y="1052"/>
                    <a:pt x="1810" y="1057"/>
                    <a:pt x="1803" y="1057"/>
                  </a:cubicBezTo>
                  <a:cubicBezTo>
                    <a:pt x="1103" y="1057"/>
                    <a:pt x="1103" y="1057"/>
                    <a:pt x="1103" y="1057"/>
                  </a:cubicBezTo>
                  <a:cubicBezTo>
                    <a:pt x="1096" y="1057"/>
                    <a:pt x="1091" y="1052"/>
                    <a:pt x="1091" y="1046"/>
                  </a:cubicBezTo>
                  <a:cubicBezTo>
                    <a:pt x="1091" y="1002"/>
                    <a:pt x="1091" y="1002"/>
                    <a:pt x="1091" y="1002"/>
                  </a:cubicBezTo>
                  <a:cubicBezTo>
                    <a:pt x="1091" y="996"/>
                    <a:pt x="1096" y="990"/>
                    <a:pt x="1103" y="990"/>
                  </a:cubicBezTo>
                  <a:cubicBezTo>
                    <a:pt x="1137" y="990"/>
                    <a:pt x="1137" y="990"/>
                    <a:pt x="1137" y="990"/>
                  </a:cubicBezTo>
                  <a:cubicBezTo>
                    <a:pt x="1137" y="975"/>
                    <a:pt x="1137" y="975"/>
                    <a:pt x="1137" y="975"/>
                  </a:cubicBezTo>
                  <a:cubicBezTo>
                    <a:pt x="1137" y="968"/>
                    <a:pt x="1142" y="963"/>
                    <a:pt x="1149" y="963"/>
                  </a:cubicBezTo>
                  <a:cubicBezTo>
                    <a:pt x="1758" y="963"/>
                    <a:pt x="1758" y="963"/>
                    <a:pt x="1758" y="963"/>
                  </a:cubicBezTo>
                  <a:cubicBezTo>
                    <a:pt x="1764" y="963"/>
                    <a:pt x="1769" y="968"/>
                    <a:pt x="1769" y="975"/>
                  </a:cubicBezTo>
                  <a:cubicBezTo>
                    <a:pt x="1769" y="990"/>
                    <a:pt x="1769" y="990"/>
                    <a:pt x="1769" y="990"/>
                  </a:cubicBezTo>
                  <a:cubicBezTo>
                    <a:pt x="1803" y="990"/>
                    <a:pt x="1803" y="990"/>
                    <a:pt x="1803" y="990"/>
                  </a:cubicBezTo>
                  <a:cubicBezTo>
                    <a:pt x="1810" y="990"/>
                    <a:pt x="1815" y="996"/>
                    <a:pt x="1815" y="1002"/>
                  </a:cubicBezTo>
                  <a:close/>
                  <a:moveTo>
                    <a:pt x="1791" y="85"/>
                  </a:moveTo>
                  <a:cubicBezTo>
                    <a:pt x="1791" y="147"/>
                    <a:pt x="1791" y="147"/>
                    <a:pt x="1791" y="147"/>
                  </a:cubicBezTo>
                  <a:cubicBezTo>
                    <a:pt x="1791" y="159"/>
                    <a:pt x="1781" y="169"/>
                    <a:pt x="1769" y="169"/>
                  </a:cubicBezTo>
                  <a:cubicBezTo>
                    <a:pt x="1758" y="169"/>
                    <a:pt x="1758" y="169"/>
                    <a:pt x="1758" y="169"/>
                  </a:cubicBezTo>
                  <a:cubicBezTo>
                    <a:pt x="1758" y="928"/>
                    <a:pt x="1758" y="928"/>
                    <a:pt x="1758" y="928"/>
                  </a:cubicBezTo>
                  <a:cubicBezTo>
                    <a:pt x="1714" y="928"/>
                    <a:pt x="1714" y="928"/>
                    <a:pt x="1714" y="928"/>
                  </a:cubicBezTo>
                  <a:cubicBezTo>
                    <a:pt x="1714" y="147"/>
                    <a:pt x="1714" y="147"/>
                    <a:pt x="1714" y="147"/>
                  </a:cubicBezTo>
                  <a:cubicBezTo>
                    <a:pt x="1714" y="135"/>
                    <a:pt x="1724" y="125"/>
                    <a:pt x="1736" y="125"/>
                  </a:cubicBezTo>
                  <a:cubicBezTo>
                    <a:pt x="1747" y="125"/>
                    <a:pt x="1747" y="125"/>
                    <a:pt x="1747" y="125"/>
                  </a:cubicBezTo>
                  <a:cubicBezTo>
                    <a:pt x="1747" y="107"/>
                    <a:pt x="1747" y="107"/>
                    <a:pt x="1747" y="107"/>
                  </a:cubicBezTo>
                  <a:cubicBezTo>
                    <a:pt x="1159" y="107"/>
                    <a:pt x="1159" y="107"/>
                    <a:pt x="1159" y="107"/>
                  </a:cubicBezTo>
                  <a:cubicBezTo>
                    <a:pt x="1159" y="125"/>
                    <a:pt x="1159" y="125"/>
                    <a:pt x="1159" y="125"/>
                  </a:cubicBezTo>
                  <a:cubicBezTo>
                    <a:pt x="1170" y="125"/>
                    <a:pt x="1170" y="125"/>
                    <a:pt x="1170" y="125"/>
                  </a:cubicBezTo>
                  <a:cubicBezTo>
                    <a:pt x="1183" y="125"/>
                    <a:pt x="1192" y="135"/>
                    <a:pt x="1192" y="147"/>
                  </a:cubicBezTo>
                  <a:cubicBezTo>
                    <a:pt x="1192" y="928"/>
                    <a:pt x="1192" y="928"/>
                    <a:pt x="1192" y="928"/>
                  </a:cubicBezTo>
                  <a:cubicBezTo>
                    <a:pt x="1148" y="928"/>
                    <a:pt x="1148" y="928"/>
                    <a:pt x="1148" y="928"/>
                  </a:cubicBezTo>
                  <a:cubicBezTo>
                    <a:pt x="1148" y="169"/>
                    <a:pt x="1148" y="169"/>
                    <a:pt x="1148" y="169"/>
                  </a:cubicBezTo>
                  <a:cubicBezTo>
                    <a:pt x="1137" y="169"/>
                    <a:pt x="1137" y="169"/>
                    <a:pt x="1137" y="169"/>
                  </a:cubicBezTo>
                  <a:cubicBezTo>
                    <a:pt x="1125" y="169"/>
                    <a:pt x="1115" y="159"/>
                    <a:pt x="1115" y="147"/>
                  </a:cubicBezTo>
                  <a:cubicBezTo>
                    <a:pt x="1115" y="85"/>
                    <a:pt x="1115" y="85"/>
                    <a:pt x="1115" y="85"/>
                  </a:cubicBezTo>
                  <a:cubicBezTo>
                    <a:pt x="1115" y="73"/>
                    <a:pt x="1125" y="63"/>
                    <a:pt x="1137" y="63"/>
                  </a:cubicBezTo>
                  <a:cubicBezTo>
                    <a:pt x="1176" y="63"/>
                    <a:pt x="1176" y="63"/>
                    <a:pt x="1176" y="63"/>
                  </a:cubicBezTo>
                  <a:cubicBezTo>
                    <a:pt x="1199" y="13"/>
                    <a:pt x="1199" y="13"/>
                    <a:pt x="1199" y="13"/>
                  </a:cubicBezTo>
                  <a:cubicBezTo>
                    <a:pt x="1203" y="5"/>
                    <a:pt x="1211" y="0"/>
                    <a:pt x="1219" y="0"/>
                  </a:cubicBezTo>
                  <a:cubicBezTo>
                    <a:pt x="1687" y="0"/>
                    <a:pt x="1687" y="0"/>
                    <a:pt x="1687" y="0"/>
                  </a:cubicBezTo>
                  <a:cubicBezTo>
                    <a:pt x="1695" y="0"/>
                    <a:pt x="1703" y="5"/>
                    <a:pt x="1707" y="13"/>
                  </a:cubicBezTo>
                  <a:cubicBezTo>
                    <a:pt x="1730" y="63"/>
                    <a:pt x="1730" y="63"/>
                    <a:pt x="1730" y="63"/>
                  </a:cubicBezTo>
                  <a:cubicBezTo>
                    <a:pt x="1769" y="63"/>
                    <a:pt x="1769" y="63"/>
                    <a:pt x="1769" y="63"/>
                  </a:cubicBezTo>
                  <a:cubicBezTo>
                    <a:pt x="1781" y="63"/>
                    <a:pt x="1791" y="73"/>
                    <a:pt x="1791" y="85"/>
                  </a:cubicBezTo>
                  <a:close/>
                  <a:moveTo>
                    <a:pt x="1224" y="63"/>
                  </a:moveTo>
                  <a:cubicBezTo>
                    <a:pt x="1682" y="63"/>
                    <a:pt x="1682" y="63"/>
                    <a:pt x="1682" y="63"/>
                  </a:cubicBezTo>
                  <a:cubicBezTo>
                    <a:pt x="1673" y="44"/>
                    <a:pt x="1673" y="44"/>
                    <a:pt x="1673" y="44"/>
                  </a:cubicBezTo>
                  <a:cubicBezTo>
                    <a:pt x="1233" y="44"/>
                    <a:pt x="1233" y="44"/>
                    <a:pt x="1233" y="44"/>
                  </a:cubicBezTo>
                  <a:lnTo>
                    <a:pt x="1224" y="63"/>
                  </a:lnTo>
                  <a:close/>
                  <a:moveTo>
                    <a:pt x="1326" y="1153"/>
                  </a:moveTo>
                  <a:cubicBezTo>
                    <a:pt x="1319" y="1143"/>
                    <a:pt x="1305" y="1142"/>
                    <a:pt x="1295" y="1149"/>
                  </a:cubicBezTo>
                  <a:cubicBezTo>
                    <a:pt x="1160" y="1254"/>
                    <a:pt x="997" y="1310"/>
                    <a:pt x="825" y="1310"/>
                  </a:cubicBezTo>
                  <a:cubicBezTo>
                    <a:pt x="674" y="1310"/>
                    <a:pt x="531" y="1267"/>
                    <a:pt x="406" y="1186"/>
                  </a:cubicBezTo>
                  <a:cubicBezTo>
                    <a:pt x="437" y="1185"/>
                    <a:pt x="437" y="1185"/>
                    <a:pt x="437" y="1185"/>
                  </a:cubicBezTo>
                  <a:cubicBezTo>
                    <a:pt x="449" y="1184"/>
                    <a:pt x="459" y="1174"/>
                    <a:pt x="458" y="1162"/>
                  </a:cubicBezTo>
                  <a:cubicBezTo>
                    <a:pt x="458" y="1150"/>
                    <a:pt x="448" y="1140"/>
                    <a:pt x="435" y="1141"/>
                  </a:cubicBezTo>
                  <a:cubicBezTo>
                    <a:pt x="340" y="1144"/>
                    <a:pt x="340" y="1144"/>
                    <a:pt x="340" y="1144"/>
                  </a:cubicBezTo>
                  <a:cubicBezTo>
                    <a:pt x="340" y="1144"/>
                    <a:pt x="339" y="1144"/>
                    <a:pt x="339" y="1145"/>
                  </a:cubicBezTo>
                  <a:cubicBezTo>
                    <a:pt x="338" y="1145"/>
                    <a:pt x="338" y="1145"/>
                    <a:pt x="338" y="1145"/>
                  </a:cubicBezTo>
                  <a:cubicBezTo>
                    <a:pt x="337" y="1145"/>
                    <a:pt x="336" y="1145"/>
                    <a:pt x="334" y="1145"/>
                  </a:cubicBezTo>
                  <a:cubicBezTo>
                    <a:pt x="334" y="1145"/>
                    <a:pt x="334" y="1146"/>
                    <a:pt x="334" y="1146"/>
                  </a:cubicBezTo>
                  <a:cubicBezTo>
                    <a:pt x="333" y="1146"/>
                    <a:pt x="332" y="1147"/>
                    <a:pt x="330" y="1147"/>
                  </a:cubicBezTo>
                  <a:cubicBezTo>
                    <a:pt x="330" y="1147"/>
                    <a:pt x="330" y="1147"/>
                    <a:pt x="330" y="1147"/>
                  </a:cubicBezTo>
                  <a:cubicBezTo>
                    <a:pt x="329" y="1148"/>
                    <a:pt x="328" y="1149"/>
                    <a:pt x="327" y="1150"/>
                  </a:cubicBezTo>
                  <a:cubicBezTo>
                    <a:pt x="327" y="1150"/>
                    <a:pt x="327" y="1150"/>
                    <a:pt x="327" y="1150"/>
                  </a:cubicBezTo>
                  <a:cubicBezTo>
                    <a:pt x="326" y="1151"/>
                    <a:pt x="325" y="1152"/>
                    <a:pt x="324" y="1153"/>
                  </a:cubicBezTo>
                  <a:cubicBezTo>
                    <a:pt x="324" y="1153"/>
                    <a:pt x="324" y="1153"/>
                    <a:pt x="324" y="1153"/>
                  </a:cubicBezTo>
                  <a:cubicBezTo>
                    <a:pt x="324" y="1153"/>
                    <a:pt x="324" y="1153"/>
                    <a:pt x="324" y="1153"/>
                  </a:cubicBezTo>
                  <a:cubicBezTo>
                    <a:pt x="323" y="1153"/>
                    <a:pt x="323" y="1154"/>
                    <a:pt x="323" y="1154"/>
                  </a:cubicBezTo>
                  <a:cubicBezTo>
                    <a:pt x="322" y="1155"/>
                    <a:pt x="322" y="1156"/>
                    <a:pt x="321" y="1157"/>
                  </a:cubicBezTo>
                  <a:cubicBezTo>
                    <a:pt x="321" y="1157"/>
                    <a:pt x="321" y="1157"/>
                    <a:pt x="321" y="1157"/>
                  </a:cubicBezTo>
                  <a:cubicBezTo>
                    <a:pt x="321" y="1158"/>
                    <a:pt x="320" y="1159"/>
                    <a:pt x="320" y="1161"/>
                  </a:cubicBezTo>
                  <a:cubicBezTo>
                    <a:pt x="320" y="1161"/>
                    <a:pt x="320" y="1161"/>
                    <a:pt x="320" y="1161"/>
                  </a:cubicBezTo>
                  <a:cubicBezTo>
                    <a:pt x="320" y="1162"/>
                    <a:pt x="319" y="1163"/>
                    <a:pt x="319" y="1165"/>
                  </a:cubicBezTo>
                  <a:cubicBezTo>
                    <a:pt x="319" y="1165"/>
                    <a:pt x="319" y="1165"/>
                    <a:pt x="319" y="1165"/>
                  </a:cubicBezTo>
                  <a:cubicBezTo>
                    <a:pt x="319" y="1166"/>
                    <a:pt x="319" y="1168"/>
                    <a:pt x="319" y="1169"/>
                  </a:cubicBezTo>
                  <a:cubicBezTo>
                    <a:pt x="319" y="1169"/>
                    <a:pt x="319" y="1169"/>
                    <a:pt x="319" y="1170"/>
                  </a:cubicBezTo>
                  <a:cubicBezTo>
                    <a:pt x="320" y="1171"/>
                    <a:pt x="320" y="1172"/>
                    <a:pt x="320" y="1173"/>
                  </a:cubicBezTo>
                  <a:cubicBezTo>
                    <a:pt x="320" y="1173"/>
                    <a:pt x="320" y="1173"/>
                    <a:pt x="320" y="1173"/>
                  </a:cubicBezTo>
                  <a:cubicBezTo>
                    <a:pt x="320" y="1173"/>
                    <a:pt x="320" y="1173"/>
                    <a:pt x="320" y="1173"/>
                  </a:cubicBezTo>
                  <a:cubicBezTo>
                    <a:pt x="351" y="1264"/>
                    <a:pt x="351" y="1264"/>
                    <a:pt x="351" y="1264"/>
                  </a:cubicBezTo>
                  <a:cubicBezTo>
                    <a:pt x="354" y="1273"/>
                    <a:pt x="362" y="1279"/>
                    <a:pt x="372" y="1279"/>
                  </a:cubicBezTo>
                  <a:cubicBezTo>
                    <a:pt x="374" y="1279"/>
                    <a:pt x="376" y="1278"/>
                    <a:pt x="379" y="1277"/>
                  </a:cubicBezTo>
                  <a:cubicBezTo>
                    <a:pt x="390" y="1274"/>
                    <a:pt x="396" y="1261"/>
                    <a:pt x="392" y="1250"/>
                  </a:cubicBezTo>
                  <a:cubicBezTo>
                    <a:pt x="384" y="1224"/>
                    <a:pt x="384" y="1224"/>
                    <a:pt x="384" y="1224"/>
                  </a:cubicBezTo>
                  <a:cubicBezTo>
                    <a:pt x="515" y="1309"/>
                    <a:pt x="666" y="1354"/>
                    <a:pt x="825" y="1354"/>
                  </a:cubicBezTo>
                  <a:cubicBezTo>
                    <a:pt x="1007" y="1354"/>
                    <a:pt x="1179" y="1295"/>
                    <a:pt x="1322" y="1184"/>
                  </a:cubicBezTo>
                  <a:cubicBezTo>
                    <a:pt x="1332" y="1176"/>
                    <a:pt x="1334" y="1162"/>
                    <a:pt x="1326" y="11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
        <p:nvSpPr>
          <p:cNvPr id="12" name="Title 1">
            <a:extLst>
              <a:ext uri="{FF2B5EF4-FFF2-40B4-BE49-F238E27FC236}">
                <a16:creationId xmlns:a16="http://schemas.microsoft.com/office/drawing/2014/main" id="{82EC1191-2DB2-44A5-8030-4321ABCDFDBB}"/>
              </a:ext>
            </a:extLst>
          </p:cNvPr>
          <p:cNvSpPr txBox="1">
            <a:spLocks/>
          </p:cNvSpPr>
          <p:nvPr/>
        </p:nvSpPr>
        <p:spPr>
          <a:xfrm>
            <a:off x="620364" y="632434"/>
            <a:ext cx="10917936" cy="807913"/>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r>
              <a:rPr lang="en-US" sz="6000" dirty="0">
                <a:solidFill>
                  <a:srgbClr val="FFFFFF"/>
                </a:solidFill>
                <a:latin typeface="BebasNeueRegular" panose="020B0606020202050201" pitchFamily="34" charset="0"/>
              </a:rPr>
              <a:t>Summary</a:t>
            </a:r>
            <a:r>
              <a:rPr lang="cs-CZ" sz="6000" dirty="0">
                <a:solidFill>
                  <a:srgbClr val="FFFFFF"/>
                </a:solidFill>
                <a:latin typeface="BebasNeueRegular" panose="020B0606020202050201" pitchFamily="34" charset="0"/>
              </a:rPr>
              <a:t> </a:t>
            </a:r>
            <a:r>
              <a:rPr lang="cs-CZ" sz="6000" dirty="0" err="1">
                <a:solidFill>
                  <a:srgbClr val="FFFFFF"/>
                </a:solidFill>
                <a:latin typeface="BebasNeueRegular" panose="020B0606020202050201" pitchFamily="34" charset="0"/>
              </a:rPr>
              <a:t>recap</a:t>
            </a:r>
            <a:endParaRPr lang="en-US" sz="6000" dirty="0">
              <a:solidFill>
                <a:srgbClr val="FFFFFF"/>
              </a:solidFill>
              <a:latin typeface="BebasNeueRegular" panose="020B0606020202050201" pitchFamily="34" charset="0"/>
            </a:endParaRPr>
          </a:p>
        </p:txBody>
      </p:sp>
      <p:sp>
        <p:nvSpPr>
          <p:cNvPr id="13" name="Title 2">
            <a:extLst>
              <a:ext uri="{FF2B5EF4-FFF2-40B4-BE49-F238E27FC236}">
                <a16:creationId xmlns:a16="http://schemas.microsoft.com/office/drawing/2014/main" id="{B94E76E8-62C2-4C51-9F03-1AAC0A07BDF1}"/>
              </a:ext>
            </a:extLst>
          </p:cNvPr>
          <p:cNvSpPr txBox="1">
            <a:spLocks/>
          </p:cNvSpPr>
          <p:nvPr/>
        </p:nvSpPr>
        <p:spPr>
          <a:xfrm>
            <a:off x="4352928" y="4293096"/>
            <a:ext cx="3419472" cy="1292662"/>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en-US" sz="2800" b="1" dirty="0">
                <a:latin typeface="+mn-lt"/>
              </a:rPr>
              <a:t>…</a:t>
            </a:r>
            <a:r>
              <a:rPr lang="cs-CZ" sz="2800" b="1" dirty="0" err="1">
                <a:latin typeface="+mn-lt"/>
              </a:rPr>
              <a:t>Enabled</a:t>
            </a:r>
            <a:r>
              <a:rPr lang="cs-CZ" sz="2800" b="1" dirty="0">
                <a:latin typeface="+mn-lt"/>
              </a:rPr>
              <a:t> </a:t>
            </a:r>
            <a:r>
              <a:rPr lang="cs-CZ" sz="2800" b="1" dirty="0" err="1">
                <a:latin typeface="+mn-lt"/>
              </a:rPr>
              <a:t>them</a:t>
            </a:r>
            <a:r>
              <a:rPr lang="cs-CZ" sz="2800" b="1" dirty="0">
                <a:latin typeface="+mn-lt"/>
              </a:rPr>
              <a:t> to </a:t>
            </a:r>
            <a:r>
              <a:rPr lang="cs-CZ" sz="2800" b="1" dirty="0" err="1">
                <a:latin typeface="+mn-lt"/>
              </a:rPr>
              <a:t>see</a:t>
            </a:r>
            <a:r>
              <a:rPr lang="cs-CZ" sz="2800" b="1" dirty="0">
                <a:latin typeface="+mn-lt"/>
              </a:rPr>
              <a:t> </a:t>
            </a:r>
            <a:r>
              <a:rPr lang="cs-CZ" sz="2800" b="1" dirty="0" err="1">
                <a:latin typeface="+mn-lt"/>
              </a:rPr>
              <a:t>all</a:t>
            </a:r>
            <a:r>
              <a:rPr lang="cs-CZ" sz="2800" b="1" dirty="0">
                <a:latin typeface="+mn-lt"/>
              </a:rPr>
              <a:t> </a:t>
            </a:r>
            <a:r>
              <a:rPr lang="cs-CZ" sz="2800" b="1" dirty="0" err="1">
                <a:latin typeface="+mn-lt"/>
              </a:rPr>
              <a:t>the</a:t>
            </a:r>
            <a:r>
              <a:rPr lang="cs-CZ" sz="2800" b="1" dirty="0">
                <a:latin typeface="+mn-lt"/>
              </a:rPr>
              <a:t> data on </a:t>
            </a:r>
            <a:r>
              <a:rPr lang="cs-CZ" sz="2800" b="1" dirty="0" err="1">
                <a:latin typeface="+mn-lt"/>
              </a:rPr>
              <a:t>the</a:t>
            </a:r>
            <a:r>
              <a:rPr lang="cs-CZ" sz="2800" b="1" dirty="0">
                <a:latin typeface="+mn-lt"/>
              </a:rPr>
              <a:t> market</a:t>
            </a:r>
            <a:r>
              <a:rPr lang="en-US" sz="2800" b="1" dirty="0">
                <a:latin typeface="+mn-lt"/>
              </a:rPr>
              <a:t>… </a:t>
            </a:r>
          </a:p>
        </p:txBody>
      </p:sp>
      <p:sp>
        <p:nvSpPr>
          <p:cNvPr id="14" name="Title 2">
            <a:extLst>
              <a:ext uri="{FF2B5EF4-FFF2-40B4-BE49-F238E27FC236}">
                <a16:creationId xmlns:a16="http://schemas.microsoft.com/office/drawing/2014/main" id="{D3856004-A917-44B2-8B75-1AF2DF2F49B9}"/>
              </a:ext>
            </a:extLst>
          </p:cNvPr>
          <p:cNvSpPr txBox="1">
            <a:spLocks/>
          </p:cNvSpPr>
          <p:nvPr/>
        </p:nvSpPr>
        <p:spPr>
          <a:xfrm>
            <a:off x="576264" y="4293096"/>
            <a:ext cx="3419472" cy="1723549"/>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en-US" sz="2800" b="1" dirty="0">
                <a:latin typeface="+mn-lt"/>
              </a:rPr>
              <a:t>We identified </a:t>
            </a:r>
            <a:br>
              <a:rPr lang="en-US" sz="2800" b="1" dirty="0">
                <a:latin typeface="+mn-lt"/>
              </a:rPr>
            </a:br>
            <a:r>
              <a:rPr lang="cs-CZ" sz="2800" b="1" dirty="0" err="1">
                <a:latin typeface="+mn-lt"/>
              </a:rPr>
              <a:t>the</a:t>
            </a:r>
            <a:r>
              <a:rPr lang="cs-CZ" sz="2800" b="1" dirty="0">
                <a:latin typeface="+mn-lt"/>
              </a:rPr>
              <a:t> </a:t>
            </a:r>
            <a:r>
              <a:rPr lang="cs-CZ" sz="2800" b="1" dirty="0" err="1">
                <a:latin typeface="+mn-lt"/>
              </a:rPr>
              <a:t>issues</a:t>
            </a:r>
            <a:r>
              <a:rPr lang="cs-CZ" sz="2800" b="1" dirty="0">
                <a:latin typeface="+mn-lt"/>
              </a:rPr>
              <a:t> </a:t>
            </a:r>
            <a:r>
              <a:rPr lang="cs-CZ" sz="2800" b="1" dirty="0" err="1">
                <a:latin typeface="+mn-lt"/>
              </a:rPr>
              <a:t>faced</a:t>
            </a:r>
            <a:r>
              <a:rPr lang="cs-CZ" sz="2800" b="1" dirty="0">
                <a:latin typeface="+mn-lt"/>
              </a:rPr>
              <a:t> by </a:t>
            </a:r>
            <a:r>
              <a:rPr lang="cs-CZ" sz="2800" b="1" dirty="0" err="1">
                <a:latin typeface="+mn-lt"/>
              </a:rPr>
              <a:t>people</a:t>
            </a:r>
            <a:r>
              <a:rPr lang="cs-CZ" sz="2800" b="1" dirty="0">
                <a:latin typeface="+mn-lt"/>
              </a:rPr>
              <a:t> in </a:t>
            </a:r>
            <a:r>
              <a:rPr lang="cs-CZ" sz="2800" b="1" dirty="0" err="1">
                <a:latin typeface="+mn-lt"/>
              </a:rPr>
              <a:t>real</a:t>
            </a:r>
            <a:r>
              <a:rPr lang="cs-CZ" sz="2800" b="1" dirty="0">
                <a:latin typeface="+mn-lt"/>
              </a:rPr>
              <a:t> </a:t>
            </a:r>
            <a:r>
              <a:rPr lang="cs-CZ" sz="2800" b="1" dirty="0" err="1">
                <a:latin typeface="+mn-lt"/>
              </a:rPr>
              <a:t>estate</a:t>
            </a:r>
            <a:r>
              <a:rPr lang="cs-CZ" sz="2800" b="1" dirty="0">
                <a:latin typeface="+mn-lt"/>
              </a:rPr>
              <a:t>…</a:t>
            </a:r>
            <a:endParaRPr lang="en-US" sz="2800" b="1" dirty="0">
              <a:latin typeface="+mn-lt"/>
            </a:endParaRPr>
          </a:p>
        </p:txBody>
      </p:sp>
      <p:sp>
        <p:nvSpPr>
          <p:cNvPr id="15" name="Title 2">
            <a:extLst>
              <a:ext uri="{FF2B5EF4-FFF2-40B4-BE49-F238E27FC236}">
                <a16:creationId xmlns:a16="http://schemas.microsoft.com/office/drawing/2014/main" id="{0A39A457-145B-44E3-B0F2-5C49DCCDF5C4}"/>
              </a:ext>
            </a:extLst>
          </p:cNvPr>
          <p:cNvSpPr txBox="1">
            <a:spLocks/>
          </p:cNvSpPr>
          <p:nvPr/>
        </p:nvSpPr>
        <p:spPr>
          <a:xfrm>
            <a:off x="8043864" y="4293096"/>
            <a:ext cx="3419472" cy="1723549"/>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en-US" sz="2800" b="1" dirty="0">
                <a:latin typeface="+mn-lt"/>
              </a:rPr>
              <a:t>…and </a:t>
            </a:r>
            <a:r>
              <a:rPr lang="cs-CZ" sz="2800" b="1" dirty="0" err="1">
                <a:latin typeface="+mn-lt"/>
              </a:rPr>
              <a:t>GetReal</a:t>
            </a:r>
            <a:r>
              <a:rPr lang="cs-CZ" sz="2800" b="1" dirty="0">
                <a:latin typeface="+mn-lt"/>
              </a:rPr>
              <a:t> </a:t>
            </a:r>
            <a:r>
              <a:rPr lang="en-US" sz="2800" b="1" dirty="0">
                <a:latin typeface="+mn-lt"/>
              </a:rPr>
              <a:t>is </a:t>
            </a:r>
            <a:br>
              <a:rPr lang="en-US" sz="2800" b="1" dirty="0">
                <a:latin typeface="+mn-lt"/>
              </a:rPr>
            </a:br>
            <a:r>
              <a:rPr lang="en-US" sz="2800" b="1" dirty="0">
                <a:latin typeface="+mn-lt"/>
              </a:rPr>
              <a:t>the </a:t>
            </a:r>
            <a:r>
              <a:rPr lang="cs-CZ" sz="2800" b="1" dirty="0">
                <a:latin typeface="+mn-lt"/>
              </a:rPr>
              <a:t>dashboard </a:t>
            </a:r>
            <a:r>
              <a:rPr lang="cs-CZ" sz="2800" b="1" dirty="0" err="1">
                <a:latin typeface="+mn-lt"/>
              </a:rPr>
              <a:t>that</a:t>
            </a:r>
            <a:r>
              <a:rPr lang="cs-CZ" sz="2800" b="1" dirty="0">
                <a:latin typeface="+mn-lt"/>
              </a:rPr>
              <a:t> </a:t>
            </a:r>
            <a:r>
              <a:rPr lang="cs-CZ" sz="2800" b="1" dirty="0" err="1">
                <a:latin typeface="+mn-lt"/>
              </a:rPr>
              <a:t>helps</a:t>
            </a:r>
            <a:r>
              <a:rPr lang="cs-CZ" sz="2800" b="1" dirty="0">
                <a:latin typeface="+mn-lt"/>
              </a:rPr>
              <a:t> </a:t>
            </a:r>
            <a:r>
              <a:rPr lang="cs-CZ" sz="2800" b="1" dirty="0" err="1">
                <a:latin typeface="+mn-lt"/>
              </a:rPr>
              <a:t>them</a:t>
            </a:r>
            <a:r>
              <a:rPr lang="cs-CZ" sz="2800" b="1" dirty="0">
                <a:latin typeface="+mn-lt"/>
              </a:rPr>
              <a:t> make </a:t>
            </a:r>
            <a:r>
              <a:rPr lang="cs-CZ" sz="2800" b="1" dirty="0" err="1">
                <a:latin typeface="+mn-lt"/>
              </a:rPr>
              <a:t>better</a:t>
            </a:r>
            <a:r>
              <a:rPr lang="cs-CZ" sz="2800" b="1" dirty="0">
                <a:latin typeface="+mn-lt"/>
              </a:rPr>
              <a:t> </a:t>
            </a:r>
            <a:r>
              <a:rPr lang="cs-CZ" sz="2800" b="1" dirty="0" err="1">
                <a:latin typeface="+mn-lt"/>
              </a:rPr>
              <a:t>decisions</a:t>
            </a:r>
            <a:endParaRPr lang="en-US" sz="2800" b="1" dirty="0">
              <a:latin typeface="+mn-lt"/>
            </a:endParaRPr>
          </a:p>
        </p:txBody>
      </p:sp>
      <p:grpSp>
        <p:nvGrpSpPr>
          <p:cNvPr id="16" name="bcgIcons_WorldIssues">
            <a:extLst>
              <a:ext uri="{FF2B5EF4-FFF2-40B4-BE49-F238E27FC236}">
                <a16:creationId xmlns:a16="http://schemas.microsoft.com/office/drawing/2014/main" id="{A21A796B-26FB-4228-BC39-3B3321B4E055}"/>
              </a:ext>
            </a:extLst>
          </p:cNvPr>
          <p:cNvGrpSpPr>
            <a:grpSpLocks noChangeAspect="1"/>
          </p:cNvGrpSpPr>
          <p:nvPr/>
        </p:nvGrpSpPr>
        <p:grpSpPr bwMode="auto">
          <a:xfrm>
            <a:off x="1356320" y="2038000"/>
            <a:ext cx="1859360" cy="1861532"/>
            <a:chOff x="2128" y="448"/>
            <a:chExt cx="3424" cy="3428"/>
          </a:xfrm>
        </p:grpSpPr>
        <p:sp>
          <p:nvSpPr>
            <p:cNvPr id="18" name="Freeform 35">
              <a:extLst>
                <a:ext uri="{FF2B5EF4-FFF2-40B4-BE49-F238E27FC236}">
                  <a16:creationId xmlns:a16="http://schemas.microsoft.com/office/drawing/2014/main" id="{276795AF-B958-4F51-AE76-63BC2E15656E}"/>
                </a:ext>
              </a:extLst>
            </p:cNvPr>
            <p:cNvSpPr>
              <a:spLocks noEditPoints="1"/>
            </p:cNvSpPr>
            <p:nvPr/>
          </p:nvSpPr>
          <p:spPr bwMode="auto">
            <a:xfrm>
              <a:off x="2128" y="448"/>
              <a:ext cx="3424" cy="3428"/>
            </a:xfrm>
            <a:custGeom>
              <a:avLst/>
              <a:gdLst>
                <a:gd name="T0" fmla="*/ 914 w 1828"/>
                <a:gd name="T1" fmla="*/ 1828 h 1828"/>
                <a:gd name="T2" fmla="*/ 268 w 1828"/>
                <a:gd name="T3" fmla="*/ 1560 h 1828"/>
                <a:gd name="T4" fmla="*/ 0 w 1828"/>
                <a:gd name="T5" fmla="*/ 914 h 1828"/>
                <a:gd name="T6" fmla="*/ 268 w 1828"/>
                <a:gd name="T7" fmla="*/ 268 h 1828"/>
                <a:gd name="T8" fmla="*/ 914 w 1828"/>
                <a:gd name="T9" fmla="*/ 0 h 1828"/>
                <a:gd name="T10" fmla="*/ 1560 w 1828"/>
                <a:gd name="T11" fmla="*/ 268 h 1828"/>
                <a:gd name="T12" fmla="*/ 1828 w 1828"/>
                <a:gd name="T13" fmla="*/ 914 h 1828"/>
                <a:gd name="T14" fmla="*/ 1560 w 1828"/>
                <a:gd name="T15" fmla="*/ 1560 h 1828"/>
                <a:gd name="T16" fmla="*/ 914 w 1828"/>
                <a:gd name="T17" fmla="*/ 1828 h 1828"/>
                <a:gd name="T18" fmla="*/ 914 w 1828"/>
                <a:gd name="T19" fmla="*/ 44 h 1828"/>
                <a:gd name="T20" fmla="*/ 44 w 1828"/>
                <a:gd name="T21" fmla="*/ 914 h 1828"/>
                <a:gd name="T22" fmla="*/ 914 w 1828"/>
                <a:gd name="T23" fmla="*/ 1784 h 1828"/>
                <a:gd name="T24" fmla="*/ 1784 w 1828"/>
                <a:gd name="T25" fmla="*/ 914 h 1828"/>
                <a:gd name="T26" fmla="*/ 914 w 1828"/>
                <a:gd name="T27" fmla="*/ 44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9" name="Freeform 36">
              <a:extLst>
                <a:ext uri="{FF2B5EF4-FFF2-40B4-BE49-F238E27FC236}">
                  <a16:creationId xmlns:a16="http://schemas.microsoft.com/office/drawing/2014/main" id="{CF4E0BE3-3F20-4E65-B6D6-D9527ECFFF8A}"/>
                </a:ext>
              </a:extLst>
            </p:cNvPr>
            <p:cNvSpPr>
              <a:spLocks noEditPoints="1"/>
            </p:cNvSpPr>
            <p:nvPr/>
          </p:nvSpPr>
          <p:spPr bwMode="auto">
            <a:xfrm>
              <a:off x="2293" y="613"/>
              <a:ext cx="3094" cy="3098"/>
            </a:xfrm>
            <a:custGeom>
              <a:avLst/>
              <a:gdLst>
                <a:gd name="T0" fmla="*/ 1408 w 1652"/>
                <a:gd name="T1" fmla="*/ 241 h 1652"/>
                <a:gd name="T2" fmla="*/ 1189 w 1652"/>
                <a:gd name="T3" fmla="*/ 209 h 1652"/>
                <a:gd name="T4" fmla="*/ 1213 w 1652"/>
                <a:gd name="T5" fmla="*/ 366 h 1652"/>
                <a:gd name="T6" fmla="*/ 946 w 1652"/>
                <a:gd name="T7" fmla="*/ 488 h 1652"/>
                <a:gd name="T8" fmla="*/ 1291 w 1652"/>
                <a:gd name="T9" fmla="*/ 804 h 1652"/>
                <a:gd name="T10" fmla="*/ 946 w 1652"/>
                <a:gd name="T11" fmla="*/ 177 h 1652"/>
                <a:gd name="T12" fmla="*/ 1197 w 1652"/>
                <a:gd name="T13" fmla="*/ 325 h 1652"/>
                <a:gd name="T14" fmla="*/ 909 w 1652"/>
                <a:gd name="T15" fmla="*/ 4 h 1652"/>
                <a:gd name="T16" fmla="*/ 848 w 1652"/>
                <a:gd name="T17" fmla="*/ 177 h 1652"/>
                <a:gd name="T18" fmla="*/ 439 w 1652"/>
                <a:gd name="T19" fmla="*/ 366 h 1652"/>
                <a:gd name="T20" fmla="*/ 729 w 1652"/>
                <a:gd name="T21" fmla="*/ 804 h 1652"/>
                <a:gd name="T22" fmla="*/ 702 w 1652"/>
                <a:gd name="T23" fmla="*/ 412 h 1652"/>
                <a:gd name="T24" fmla="*/ 1335 w 1652"/>
                <a:gd name="T25" fmla="*/ 804 h 1652"/>
                <a:gd name="T26" fmla="*/ 1440 w 1652"/>
                <a:gd name="T27" fmla="*/ 274 h 1652"/>
                <a:gd name="T28" fmla="*/ 1335 w 1652"/>
                <a:gd name="T29" fmla="*/ 804 h 1652"/>
                <a:gd name="T30" fmla="*/ 913 w 1652"/>
                <a:gd name="T31" fmla="*/ 848 h 1652"/>
                <a:gd name="T32" fmla="*/ 880 w 1652"/>
                <a:gd name="T33" fmla="*/ 1070 h 1652"/>
                <a:gd name="T34" fmla="*/ 848 w 1652"/>
                <a:gd name="T35" fmla="*/ 1175 h 1652"/>
                <a:gd name="T36" fmla="*/ 951 w 1652"/>
                <a:gd name="T37" fmla="*/ 1240 h 1652"/>
                <a:gd name="T38" fmla="*/ 1291 w 1652"/>
                <a:gd name="T39" fmla="*/ 848 h 1652"/>
                <a:gd name="T40" fmla="*/ 701 w 1652"/>
                <a:gd name="T41" fmla="*/ 1240 h 1652"/>
                <a:gd name="T42" fmla="*/ 804 w 1652"/>
                <a:gd name="T43" fmla="*/ 1175 h 1652"/>
                <a:gd name="T44" fmla="*/ 767 w 1652"/>
                <a:gd name="T45" fmla="*/ 1070 h 1652"/>
                <a:gd name="T46" fmla="*/ 735 w 1652"/>
                <a:gd name="T47" fmla="*/ 848 h 1652"/>
                <a:gd name="T48" fmla="*/ 439 w 1652"/>
                <a:gd name="T49" fmla="*/ 1286 h 1652"/>
                <a:gd name="T50" fmla="*/ 1197 w 1652"/>
                <a:gd name="T51" fmla="*/ 1327 h 1652"/>
                <a:gd name="T52" fmla="*/ 976 w 1652"/>
                <a:gd name="T53" fmla="*/ 1324 h 1652"/>
                <a:gd name="T54" fmla="*/ 848 w 1652"/>
                <a:gd name="T55" fmla="*/ 1474 h 1652"/>
                <a:gd name="T56" fmla="*/ 909 w 1652"/>
                <a:gd name="T57" fmla="*/ 1648 h 1652"/>
                <a:gd name="T58" fmla="*/ 1335 w 1652"/>
                <a:gd name="T59" fmla="*/ 848 h 1652"/>
                <a:gd name="T60" fmla="*/ 1440 w 1652"/>
                <a:gd name="T61" fmla="*/ 1378 h 1652"/>
                <a:gd name="T62" fmla="*/ 1335 w 1652"/>
                <a:gd name="T63" fmla="*/ 848 h 1652"/>
                <a:gd name="T64" fmla="*/ 676 w 1652"/>
                <a:gd name="T65" fmla="*/ 1324 h 1652"/>
                <a:gd name="T66" fmla="*/ 455 w 1652"/>
                <a:gd name="T67" fmla="*/ 1327 h 1652"/>
                <a:gd name="T68" fmla="*/ 743 w 1652"/>
                <a:gd name="T69" fmla="*/ 1648 h 1652"/>
                <a:gd name="T70" fmla="*/ 804 w 1652"/>
                <a:gd name="T71" fmla="*/ 1474 h 1652"/>
                <a:gd name="T72" fmla="*/ 463 w 1652"/>
                <a:gd name="T73" fmla="*/ 1443 h 1652"/>
                <a:gd name="T74" fmla="*/ 244 w 1652"/>
                <a:gd name="T75" fmla="*/ 1411 h 1652"/>
                <a:gd name="T76" fmla="*/ 463 w 1652"/>
                <a:gd name="T77" fmla="*/ 1443 h 1652"/>
                <a:gd name="T78" fmla="*/ 1189 w 1652"/>
                <a:gd name="T79" fmla="*/ 1443 h 1652"/>
                <a:gd name="T80" fmla="*/ 1408 w 1652"/>
                <a:gd name="T81" fmla="*/ 1411 h 1652"/>
                <a:gd name="T82" fmla="*/ 317 w 1652"/>
                <a:gd name="T83" fmla="*/ 848 h 1652"/>
                <a:gd name="T84" fmla="*/ 212 w 1652"/>
                <a:gd name="T85" fmla="*/ 1378 h 1652"/>
                <a:gd name="T86" fmla="*/ 317 w 1652"/>
                <a:gd name="T87" fmla="*/ 848 h 1652"/>
                <a:gd name="T88" fmla="*/ 743 w 1652"/>
                <a:gd name="T89" fmla="*/ 4 h 1652"/>
                <a:gd name="T90" fmla="*/ 455 w 1652"/>
                <a:gd name="T91" fmla="*/ 325 h 1652"/>
                <a:gd name="T92" fmla="*/ 702 w 1652"/>
                <a:gd name="T93" fmla="*/ 177 h 1652"/>
                <a:gd name="T94" fmla="*/ 804 w 1652"/>
                <a:gd name="T95" fmla="*/ 0 h 1652"/>
                <a:gd name="T96" fmla="*/ 463 w 1652"/>
                <a:gd name="T97" fmla="*/ 209 h 1652"/>
                <a:gd name="T98" fmla="*/ 244 w 1652"/>
                <a:gd name="T99" fmla="*/ 241 h 1652"/>
                <a:gd name="T100" fmla="*/ 317 w 1652"/>
                <a:gd name="T101" fmla="*/ 804 h 1652"/>
                <a:gd name="T102" fmla="*/ 212 w 1652"/>
                <a:gd name="T103" fmla="*/ 274 h 1652"/>
                <a:gd name="T104" fmla="*/ 317 w 1652"/>
                <a:gd name="T105" fmla="*/ 804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52" h="1652">
                  <a:moveTo>
                    <a:pt x="1042" y="29"/>
                  </a:moveTo>
                  <a:cubicBezTo>
                    <a:pt x="1182" y="67"/>
                    <a:pt x="1308" y="141"/>
                    <a:pt x="1408" y="241"/>
                  </a:cubicBezTo>
                  <a:cubicBezTo>
                    <a:pt x="1357" y="269"/>
                    <a:pt x="1300" y="292"/>
                    <a:pt x="1239" y="312"/>
                  </a:cubicBezTo>
                  <a:cubicBezTo>
                    <a:pt x="1224" y="276"/>
                    <a:pt x="1208" y="241"/>
                    <a:pt x="1189" y="209"/>
                  </a:cubicBezTo>
                  <a:cubicBezTo>
                    <a:pt x="1146" y="133"/>
                    <a:pt x="1096" y="73"/>
                    <a:pt x="1042" y="29"/>
                  </a:cubicBezTo>
                  <a:close/>
                  <a:moveTo>
                    <a:pt x="1213" y="366"/>
                  </a:moveTo>
                  <a:cubicBezTo>
                    <a:pt x="1130" y="389"/>
                    <a:pt x="1040" y="405"/>
                    <a:pt x="946" y="412"/>
                  </a:cubicBezTo>
                  <a:cubicBezTo>
                    <a:pt x="946" y="488"/>
                    <a:pt x="946" y="488"/>
                    <a:pt x="946" y="488"/>
                  </a:cubicBezTo>
                  <a:cubicBezTo>
                    <a:pt x="946" y="557"/>
                    <a:pt x="937" y="661"/>
                    <a:pt x="919" y="804"/>
                  </a:cubicBezTo>
                  <a:cubicBezTo>
                    <a:pt x="1291" y="804"/>
                    <a:pt x="1291" y="804"/>
                    <a:pt x="1291" y="804"/>
                  </a:cubicBezTo>
                  <a:cubicBezTo>
                    <a:pt x="1288" y="646"/>
                    <a:pt x="1261" y="495"/>
                    <a:pt x="1213" y="366"/>
                  </a:cubicBezTo>
                  <a:close/>
                  <a:moveTo>
                    <a:pt x="946" y="177"/>
                  </a:moveTo>
                  <a:cubicBezTo>
                    <a:pt x="946" y="368"/>
                    <a:pt x="946" y="368"/>
                    <a:pt x="946" y="368"/>
                  </a:cubicBezTo>
                  <a:cubicBezTo>
                    <a:pt x="1034" y="361"/>
                    <a:pt x="1118" y="346"/>
                    <a:pt x="1197" y="325"/>
                  </a:cubicBezTo>
                  <a:cubicBezTo>
                    <a:pt x="1183" y="292"/>
                    <a:pt x="1168" y="260"/>
                    <a:pt x="1151" y="231"/>
                  </a:cubicBezTo>
                  <a:cubicBezTo>
                    <a:pt x="1083" y="112"/>
                    <a:pt x="1000" y="34"/>
                    <a:pt x="909" y="4"/>
                  </a:cubicBezTo>
                  <a:cubicBezTo>
                    <a:pt x="889" y="2"/>
                    <a:pt x="869" y="1"/>
                    <a:pt x="848" y="0"/>
                  </a:cubicBezTo>
                  <a:cubicBezTo>
                    <a:pt x="848" y="177"/>
                    <a:pt x="848" y="177"/>
                    <a:pt x="848" y="177"/>
                  </a:cubicBezTo>
                  <a:lnTo>
                    <a:pt x="946" y="177"/>
                  </a:lnTo>
                  <a:close/>
                  <a:moveTo>
                    <a:pt x="439" y="366"/>
                  </a:moveTo>
                  <a:cubicBezTo>
                    <a:pt x="391" y="495"/>
                    <a:pt x="364" y="646"/>
                    <a:pt x="361" y="804"/>
                  </a:cubicBezTo>
                  <a:cubicBezTo>
                    <a:pt x="729" y="804"/>
                    <a:pt x="729" y="804"/>
                    <a:pt x="729" y="804"/>
                  </a:cubicBezTo>
                  <a:cubicBezTo>
                    <a:pt x="711" y="663"/>
                    <a:pt x="702" y="558"/>
                    <a:pt x="702" y="489"/>
                  </a:cubicBezTo>
                  <a:cubicBezTo>
                    <a:pt x="702" y="412"/>
                    <a:pt x="702" y="412"/>
                    <a:pt x="702" y="412"/>
                  </a:cubicBezTo>
                  <a:cubicBezTo>
                    <a:pt x="610" y="405"/>
                    <a:pt x="521" y="389"/>
                    <a:pt x="439" y="366"/>
                  </a:cubicBezTo>
                  <a:close/>
                  <a:moveTo>
                    <a:pt x="1335" y="804"/>
                  </a:moveTo>
                  <a:cubicBezTo>
                    <a:pt x="1652" y="804"/>
                    <a:pt x="1652" y="804"/>
                    <a:pt x="1652" y="804"/>
                  </a:cubicBezTo>
                  <a:cubicBezTo>
                    <a:pt x="1646" y="600"/>
                    <a:pt x="1567" y="415"/>
                    <a:pt x="1440" y="274"/>
                  </a:cubicBezTo>
                  <a:cubicBezTo>
                    <a:pt x="1384" y="305"/>
                    <a:pt x="1322" y="331"/>
                    <a:pt x="1255" y="353"/>
                  </a:cubicBezTo>
                  <a:cubicBezTo>
                    <a:pt x="1305" y="487"/>
                    <a:pt x="1332" y="642"/>
                    <a:pt x="1335" y="804"/>
                  </a:cubicBezTo>
                  <a:close/>
                  <a:moveTo>
                    <a:pt x="1291" y="848"/>
                  </a:moveTo>
                  <a:cubicBezTo>
                    <a:pt x="913" y="848"/>
                    <a:pt x="913" y="848"/>
                    <a:pt x="913" y="848"/>
                  </a:cubicBezTo>
                  <a:cubicBezTo>
                    <a:pt x="905" y="907"/>
                    <a:pt x="896" y="971"/>
                    <a:pt x="885" y="1041"/>
                  </a:cubicBezTo>
                  <a:cubicBezTo>
                    <a:pt x="880" y="1070"/>
                    <a:pt x="880" y="1070"/>
                    <a:pt x="880" y="1070"/>
                  </a:cubicBezTo>
                  <a:cubicBezTo>
                    <a:pt x="848" y="1070"/>
                    <a:pt x="848" y="1070"/>
                    <a:pt x="848" y="1070"/>
                  </a:cubicBezTo>
                  <a:cubicBezTo>
                    <a:pt x="848" y="1175"/>
                    <a:pt x="848" y="1175"/>
                    <a:pt x="848" y="1175"/>
                  </a:cubicBezTo>
                  <a:cubicBezTo>
                    <a:pt x="880" y="1180"/>
                    <a:pt x="908" y="1194"/>
                    <a:pt x="932" y="1218"/>
                  </a:cubicBezTo>
                  <a:cubicBezTo>
                    <a:pt x="939" y="1225"/>
                    <a:pt x="945" y="1232"/>
                    <a:pt x="951" y="1240"/>
                  </a:cubicBezTo>
                  <a:cubicBezTo>
                    <a:pt x="1043" y="1247"/>
                    <a:pt x="1131" y="1263"/>
                    <a:pt x="1213" y="1286"/>
                  </a:cubicBezTo>
                  <a:cubicBezTo>
                    <a:pt x="1261" y="1157"/>
                    <a:pt x="1288" y="1006"/>
                    <a:pt x="1291" y="848"/>
                  </a:cubicBezTo>
                  <a:close/>
                  <a:moveTo>
                    <a:pt x="439" y="1286"/>
                  </a:moveTo>
                  <a:cubicBezTo>
                    <a:pt x="521" y="1263"/>
                    <a:pt x="609" y="1247"/>
                    <a:pt x="701" y="1240"/>
                  </a:cubicBezTo>
                  <a:cubicBezTo>
                    <a:pt x="707" y="1232"/>
                    <a:pt x="713" y="1225"/>
                    <a:pt x="720" y="1218"/>
                  </a:cubicBezTo>
                  <a:cubicBezTo>
                    <a:pt x="744" y="1194"/>
                    <a:pt x="772" y="1180"/>
                    <a:pt x="804" y="1175"/>
                  </a:cubicBezTo>
                  <a:cubicBezTo>
                    <a:pt x="804" y="1070"/>
                    <a:pt x="804" y="1070"/>
                    <a:pt x="804" y="1070"/>
                  </a:cubicBezTo>
                  <a:cubicBezTo>
                    <a:pt x="767" y="1070"/>
                    <a:pt x="767" y="1070"/>
                    <a:pt x="767" y="1070"/>
                  </a:cubicBezTo>
                  <a:cubicBezTo>
                    <a:pt x="763" y="1041"/>
                    <a:pt x="763" y="1041"/>
                    <a:pt x="763" y="1041"/>
                  </a:cubicBezTo>
                  <a:cubicBezTo>
                    <a:pt x="752" y="971"/>
                    <a:pt x="743" y="907"/>
                    <a:pt x="735" y="848"/>
                  </a:cubicBezTo>
                  <a:cubicBezTo>
                    <a:pt x="361" y="848"/>
                    <a:pt x="361" y="848"/>
                    <a:pt x="361" y="848"/>
                  </a:cubicBezTo>
                  <a:cubicBezTo>
                    <a:pt x="364" y="1006"/>
                    <a:pt x="391" y="1157"/>
                    <a:pt x="439" y="1286"/>
                  </a:cubicBezTo>
                  <a:close/>
                  <a:moveTo>
                    <a:pt x="1151" y="1421"/>
                  </a:moveTo>
                  <a:cubicBezTo>
                    <a:pt x="1168" y="1392"/>
                    <a:pt x="1183" y="1360"/>
                    <a:pt x="1197" y="1327"/>
                  </a:cubicBezTo>
                  <a:cubicBezTo>
                    <a:pt x="1126" y="1308"/>
                    <a:pt x="1050" y="1294"/>
                    <a:pt x="972" y="1286"/>
                  </a:cubicBezTo>
                  <a:cubicBezTo>
                    <a:pt x="975" y="1298"/>
                    <a:pt x="976" y="1311"/>
                    <a:pt x="976" y="1324"/>
                  </a:cubicBezTo>
                  <a:cubicBezTo>
                    <a:pt x="976" y="1365"/>
                    <a:pt x="962" y="1401"/>
                    <a:pt x="932" y="1431"/>
                  </a:cubicBezTo>
                  <a:cubicBezTo>
                    <a:pt x="908" y="1455"/>
                    <a:pt x="880" y="1469"/>
                    <a:pt x="848" y="1474"/>
                  </a:cubicBezTo>
                  <a:cubicBezTo>
                    <a:pt x="848" y="1652"/>
                    <a:pt x="848" y="1652"/>
                    <a:pt x="848" y="1652"/>
                  </a:cubicBezTo>
                  <a:cubicBezTo>
                    <a:pt x="869" y="1651"/>
                    <a:pt x="889" y="1650"/>
                    <a:pt x="909" y="1648"/>
                  </a:cubicBezTo>
                  <a:cubicBezTo>
                    <a:pt x="1000" y="1618"/>
                    <a:pt x="1083" y="1540"/>
                    <a:pt x="1151" y="1421"/>
                  </a:cubicBezTo>
                  <a:close/>
                  <a:moveTo>
                    <a:pt x="1335" y="848"/>
                  </a:moveTo>
                  <a:cubicBezTo>
                    <a:pt x="1332" y="1010"/>
                    <a:pt x="1305" y="1165"/>
                    <a:pt x="1255" y="1299"/>
                  </a:cubicBezTo>
                  <a:cubicBezTo>
                    <a:pt x="1322" y="1321"/>
                    <a:pt x="1384" y="1347"/>
                    <a:pt x="1440" y="1378"/>
                  </a:cubicBezTo>
                  <a:cubicBezTo>
                    <a:pt x="1567" y="1237"/>
                    <a:pt x="1646" y="1052"/>
                    <a:pt x="1652" y="848"/>
                  </a:cubicBezTo>
                  <a:lnTo>
                    <a:pt x="1335" y="848"/>
                  </a:lnTo>
                  <a:close/>
                  <a:moveTo>
                    <a:pt x="720" y="1431"/>
                  </a:moveTo>
                  <a:cubicBezTo>
                    <a:pt x="690" y="1401"/>
                    <a:pt x="676" y="1365"/>
                    <a:pt x="676" y="1324"/>
                  </a:cubicBezTo>
                  <a:cubicBezTo>
                    <a:pt x="676" y="1311"/>
                    <a:pt x="677" y="1298"/>
                    <a:pt x="680" y="1286"/>
                  </a:cubicBezTo>
                  <a:cubicBezTo>
                    <a:pt x="602" y="1294"/>
                    <a:pt x="526" y="1308"/>
                    <a:pt x="455" y="1327"/>
                  </a:cubicBezTo>
                  <a:cubicBezTo>
                    <a:pt x="469" y="1360"/>
                    <a:pt x="484" y="1392"/>
                    <a:pt x="501" y="1421"/>
                  </a:cubicBezTo>
                  <a:cubicBezTo>
                    <a:pt x="569" y="1540"/>
                    <a:pt x="652" y="1618"/>
                    <a:pt x="743" y="1648"/>
                  </a:cubicBezTo>
                  <a:cubicBezTo>
                    <a:pt x="763" y="1650"/>
                    <a:pt x="783" y="1651"/>
                    <a:pt x="804" y="1652"/>
                  </a:cubicBezTo>
                  <a:cubicBezTo>
                    <a:pt x="804" y="1474"/>
                    <a:pt x="804" y="1474"/>
                    <a:pt x="804" y="1474"/>
                  </a:cubicBezTo>
                  <a:cubicBezTo>
                    <a:pt x="772" y="1469"/>
                    <a:pt x="744" y="1455"/>
                    <a:pt x="720" y="1431"/>
                  </a:cubicBezTo>
                  <a:close/>
                  <a:moveTo>
                    <a:pt x="463" y="1443"/>
                  </a:moveTo>
                  <a:cubicBezTo>
                    <a:pt x="444" y="1411"/>
                    <a:pt x="428" y="1376"/>
                    <a:pt x="413" y="1340"/>
                  </a:cubicBezTo>
                  <a:cubicBezTo>
                    <a:pt x="352" y="1360"/>
                    <a:pt x="295" y="1383"/>
                    <a:pt x="244" y="1411"/>
                  </a:cubicBezTo>
                  <a:cubicBezTo>
                    <a:pt x="344" y="1511"/>
                    <a:pt x="470" y="1585"/>
                    <a:pt x="610" y="1623"/>
                  </a:cubicBezTo>
                  <a:cubicBezTo>
                    <a:pt x="556" y="1579"/>
                    <a:pt x="506" y="1519"/>
                    <a:pt x="463" y="1443"/>
                  </a:cubicBezTo>
                  <a:close/>
                  <a:moveTo>
                    <a:pt x="1239" y="1340"/>
                  </a:moveTo>
                  <a:cubicBezTo>
                    <a:pt x="1224" y="1376"/>
                    <a:pt x="1208" y="1411"/>
                    <a:pt x="1189" y="1443"/>
                  </a:cubicBezTo>
                  <a:cubicBezTo>
                    <a:pt x="1146" y="1519"/>
                    <a:pt x="1096" y="1579"/>
                    <a:pt x="1042" y="1623"/>
                  </a:cubicBezTo>
                  <a:cubicBezTo>
                    <a:pt x="1182" y="1585"/>
                    <a:pt x="1308" y="1511"/>
                    <a:pt x="1408" y="1411"/>
                  </a:cubicBezTo>
                  <a:cubicBezTo>
                    <a:pt x="1357" y="1383"/>
                    <a:pt x="1300" y="1360"/>
                    <a:pt x="1239" y="1340"/>
                  </a:cubicBezTo>
                  <a:close/>
                  <a:moveTo>
                    <a:pt x="317" y="848"/>
                  </a:moveTo>
                  <a:cubicBezTo>
                    <a:pt x="0" y="848"/>
                    <a:pt x="0" y="848"/>
                    <a:pt x="0" y="848"/>
                  </a:cubicBezTo>
                  <a:cubicBezTo>
                    <a:pt x="6" y="1052"/>
                    <a:pt x="85" y="1237"/>
                    <a:pt x="212" y="1378"/>
                  </a:cubicBezTo>
                  <a:cubicBezTo>
                    <a:pt x="268" y="1347"/>
                    <a:pt x="330" y="1321"/>
                    <a:pt x="397" y="1299"/>
                  </a:cubicBezTo>
                  <a:cubicBezTo>
                    <a:pt x="347" y="1165"/>
                    <a:pt x="320" y="1010"/>
                    <a:pt x="317" y="848"/>
                  </a:cubicBezTo>
                  <a:close/>
                  <a:moveTo>
                    <a:pt x="804" y="0"/>
                  </a:moveTo>
                  <a:cubicBezTo>
                    <a:pt x="783" y="1"/>
                    <a:pt x="763" y="2"/>
                    <a:pt x="743" y="4"/>
                  </a:cubicBezTo>
                  <a:cubicBezTo>
                    <a:pt x="652" y="34"/>
                    <a:pt x="569" y="112"/>
                    <a:pt x="501" y="231"/>
                  </a:cubicBezTo>
                  <a:cubicBezTo>
                    <a:pt x="484" y="260"/>
                    <a:pt x="469" y="292"/>
                    <a:pt x="455" y="325"/>
                  </a:cubicBezTo>
                  <a:cubicBezTo>
                    <a:pt x="532" y="346"/>
                    <a:pt x="616" y="361"/>
                    <a:pt x="702" y="368"/>
                  </a:cubicBezTo>
                  <a:cubicBezTo>
                    <a:pt x="702" y="177"/>
                    <a:pt x="702" y="177"/>
                    <a:pt x="702" y="177"/>
                  </a:cubicBezTo>
                  <a:cubicBezTo>
                    <a:pt x="804" y="177"/>
                    <a:pt x="804" y="177"/>
                    <a:pt x="804" y="177"/>
                  </a:cubicBezTo>
                  <a:lnTo>
                    <a:pt x="804" y="0"/>
                  </a:lnTo>
                  <a:close/>
                  <a:moveTo>
                    <a:pt x="413" y="312"/>
                  </a:moveTo>
                  <a:cubicBezTo>
                    <a:pt x="428" y="276"/>
                    <a:pt x="444" y="241"/>
                    <a:pt x="463" y="209"/>
                  </a:cubicBezTo>
                  <a:cubicBezTo>
                    <a:pt x="506" y="133"/>
                    <a:pt x="556" y="73"/>
                    <a:pt x="610" y="29"/>
                  </a:cubicBezTo>
                  <a:cubicBezTo>
                    <a:pt x="470" y="67"/>
                    <a:pt x="344" y="141"/>
                    <a:pt x="244" y="241"/>
                  </a:cubicBezTo>
                  <a:cubicBezTo>
                    <a:pt x="295" y="269"/>
                    <a:pt x="352" y="292"/>
                    <a:pt x="413" y="312"/>
                  </a:cubicBezTo>
                  <a:close/>
                  <a:moveTo>
                    <a:pt x="317" y="804"/>
                  </a:moveTo>
                  <a:cubicBezTo>
                    <a:pt x="320" y="642"/>
                    <a:pt x="347" y="487"/>
                    <a:pt x="397" y="353"/>
                  </a:cubicBezTo>
                  <a:cubicBezTo>
                    <a:pt x="330" y="331"/>
                    <a:pt x="268" y="305"/>
                    <a:pt x="212" y="274"/>
                  </a:cubicBezTo>
                  <a:cubicBezTo>
                    <a:pt x="85" y="415"/>
                    <a:pt x="6" y="600"/>
                    <a:pt x="0" y="804"/>
                  </a:cubicBezTo>
                  <a:lnTo>
                    <a:pt x="317" y="8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8" name="Group 27">
            <a:extLst>
              <a:ext uri="{FF2B5EF4-FFF2-40B4-BE49-F238E27FC236}">
                <a16:creationId xmlns:a16="http://schemas.microsoft.com/office/drawing/2014/main" id="{E0DDECE3-DF35-40A8-A67A-6D05C2BD6D8C}"/>
              </a:ext>
            </a:extLst>
          </p:cNvPr>
          <p:cNvGrpSpPr/>
          <p:nvPr/>
        </p:nvGrpSpPr>
        <p:grpSpPr>
          <a:xfrm>
            <a:off x="8619521" y="1716580"/>
            <a:ext cx="2200527" cy="2592288"/>
            <a:chOff x="1186609" y="920554"/>
            <a:chExt cx="966811" cy="1138933"/>
          </a:xfrm>
          <a:solidFill>
            <a:schemeClr val="tx2"/>
          </a:solidFill>
        </p:grpSpPr>
        <p:sp>
          <p:nvSpPr>
            <p:cNvPr id="29" name="Freeform 4">
              <a:extLst>
                <a:ext uri="{FF2B5EF4-FFF2-40B4-BE49-F238E27FC236}">
                  <a16:creationId xmlns:a16="http://schemas.microsoft.com/office/drawing/2014/main" id="{5C45C0D7-53FE-4586-BF2E-AD71065AF8B0}"/>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5">
              <a:extLst>
                <a:ext uri="{FF2B5EF4-FFF2-40B4-BE49-F238E27FC236}">
                  <a16:creationId xmlns:a16="http://schemas.microsoft.com/office/drawing/2014/main" id="{33EA4D70-587B-482F-8D23-2A34E4C89B54}"/>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08661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AA67C0CB-D9F5-4BFD-8326-56D043BF96AC}"/>
              </a:ext>
            </a:extLst>
          </p:cNvPr>
          <p:cNvSpPr txBox="1">
            <a:spLocks/>
          </p:cNvSpPr>
          <p:nvPr/>
        </p:nvSpPr>
        <p:spPr>
          <a:xfrm>
            <a:off x="1924051" y="1268760"/>
            <a:ext cx="6883364" cy="2058303"/>
          </a:xfrm>
          <a:prstGeom prst="rect">
            <a:avLst/>
          </a:prstGeom>
        </p:spPr>
        <p:txBody>
          <a:bodyPr vert="horz">
            <a:noAutofit/>
          </a:bodyPr>
          <a:lstStyle>
            <a:lvl1pPr algn="l" defTabSz="914400" rtl="0" eaLnBrk="1" latinLnBrk="0" hangingPunct="1">
              <a:lnSpc>
                <a:spcPct val="90000"/>
              </a:lnSpc>
              <a:spcBef>
                <a:spcPct val="0"/>
              </a:spcBef>
              <a:buNone/>
              <a:defRPr sz="6000" kern="1200">
                <a:solidFill>
                  <a:schemeClr val="tx2"/>
                </a:solidFill>
                <a:latin typeface="BebasNeueRegular" panose="020B0606020202050201" pitchFamily="34" charset="0"/>
                <a:ea typeface="+mj-ea"/>
                <a:cs typeface="+mj-cs"/>
              </a:defRPr>
            </a:lvl1pPr>
          </a:lstStyle>
          <a:p>
            <a:r>
              <a:rPr lang="cs-CZ" sz="3600" dirty="0" err="1">
                <a:solidFill>
                  <a:schemeClr val="bg1"/>
                </a:solidFill>
              </a:rPr>
              <a:t>Thank</a:t>
            </a:r>
            <a:r>
              <a:rPr lang="cs-CZ" sz="3600" dirty="0">
                <a:solidFill>
                  <a:schemeClr val="bg1"/>
                </a:solidFill>
              </a:rPr>
              <a:t> </a:t>
            </a:r>
            <a:r>
              <a:rPr lang="cs-CZ" sz="3600" dirty="0" err="1">
                <a:solidFill>
                  <a:schemeClr val="bg1"/>
                </a:solidFill>
              </a:rPr>
              <a:t>you</a:t>
            </a:r>
            <a:r>
              <a:rPr lang="cs-CZ" sz="3600" dirty="0">
                <a:solidFill>
                  <a:schemeClr val="bg1"/>
                </a:solidFill>
              </a:rPr>
              <a:t>.</a:t>
            </a:r>
            <a:endParaRPr lang="en-US" sz="3600" dirty="0">
              <a:solidFill>
                <a:schemeClr val="bg1"/>
              </a:solidFill>
            </a:endParaRPr>
          </a:p>
        </p:txBody>
      </p:sp>
      <p:sp>
        <p:nvSpPr>
          <p:cNvPr id="3" name="Title 10">
            <a:extLst>
              <a:ext uri="{FF2B5EF4-FFF2-40B4-BE49-F238E27FC236}">
                <a16:creationId xmlns:a16="http://schemas.microsoft.com/office/drawing/2014/main" id="{2D930505-28D4-4E57-8408-CC80B3FE52CB}"/>
              </a:ext>
            </a:extLst>
          </p:cNvPr>
          <p:cNvSpPr txBox="1">
            <a:spLocks/>
          </p:cNvSpPr>
          <p:nvPr/>
        </p:nvSpPr>
        <p:spPr>
          <a:xfrm>
            <a:off x="3796468" y="5546794"/>
            <a:ext cx="8395532" cy="834167"/>
          </a:xfrm>
          <a:prstGeom prst="rect">
            <a:avLst/>
          </a:prstGeom>
        </p:spPr>
        <p:txBody>
          <a:bodyPr vert="horz">
            <a:noAutofit/>
          </a:bodyPr>
          <a:lstStyle>
            <a:lvl1pPr algn="l" defTabSz="914400" rtl="0" eaLnBrk="1" latinLnBrk="0" hangingPunct="1">
              <a:lnSpc>
                <a:spcPct val="90000"/>
              </a:lnSpc>
              <a:spcBef>
                <a:spcPct val="0"/>
              </a:spcBef>
              <a:buNone/>
              <a:defRPr sz="6000" kern="1200">
                <a:solidFill>
                  <a:schemeClr val="tx2"/>
                </a:solidFill>
                <a:latin typeface="BebasNeueRegular" panose="020B0606020202050201" pitchFamily="34" charset="0"/>
                <a:ea typeface="+mj-ea"/>
                <a:cs typeface="+mj-cs"/>
              </a:defRPr>
            </a:lvl1pPr>
          </a:lstStyle>
          <a:p>
            <a:r>
              <a:rPr lang="cs-CZ" sz="7200" dirty="0" err="1">
                <a:solidFill>
                  <a:schemeClr val="bg1"/>
                </a:solidFill>
              </a:rPr>
              <a:t>Let‘s</a:t>
            </a:r>
            <a:r>
              <a:rPr lang="cs-CZ" sz="7200" dirty="0">
                <a:solidFill>
                  <a:schemeClr val="bg1"/>
                </a:solidFill>
              </a:rPr>
              <a:t> </a:t>
            </a:r>
            <a:r>
              <a:rPr lang="cs-CZ" sz="7200" dirty="0" err="1">
                <a:solidFill>
                  <a:schemeClr val="bg1"/>
                </a:solidFill>
              </a:rPr>
              <a:t>get</a:t>
            </a:r>
            <a:r>
              <a:rPr lang="cs-CZ" sz="7200" dirty="0">
                <a:solidFill>
                  <a:schemeClr val="bg1"/>
                </a:solidFill>
              </a:rPr>
              <a:t> </a:t>
            </a:r>
            <a:r>
              <a:rPr lang="cs-CZ" sz="7200" dirty="0" err="1">
                <a:solidFill>
                  <a:schemeClr val="bg1"/>
                </a:solidFill>
              </a:rPr>
              <a:t>real</a:t>
            </a:r>
            <a:r>
              <a:rPr lang="cs-CZ" sz="7200" dirty="0">
                <a:solidFill>
                  <a:schemeClr val="bg1"/>
                </a:solidFill>
              </a:rPr>
              <a:t> </a:t>
            </a:r>
            <a:r>
              <a:rPr lang="cs-CZ" sz="7200" dirty="0" err="1">
                <a:solidFill>
                  <a:schemeClr val="bg1"/>
                </a:solidFill>
              </a:rPr>
              <a:t>together</a:t>
            </a:r>
            <a:r>
              <a:rPr lang="cs-CZ" sz="7200" dirty="0">
                <a:solidFill>
                  <a:schemeClr val="bg1"/>
                </a:solidFill>
              </a:rPr>
              <a:t>!</a:t>
            </a:r>
            <a:endParaRPr lang="en-US" sz="7200" dirty="0">
              <a:solidFill>
                <a:schemeClr val="bg1"/>
              </a:solidFill>
            </a:endParaRPr>
          </a:p>
        </p:txBody>
      </p:sp>
      <p:grpSp>
        <p:nvGrpSpPr>
          <p:cNvPr id="9" name="Group 3">
            <a:extLst>
              <a:ext uri="{FF2B5EF4-FFF2-40B4-BE49-F238E27FC236}">
                <a16:creationId xmlns:a16="http://schemas.microsoft.com/office/drawing/2014/main" id="{C0EED0B8-2F22-457C-B0DE-587D3DB86DB2}"/>
              </a:ext>
            </a:extLst>
          </p:cNvPr>
          <p:cNvGrpSpPr>
            <a:grpSpLocks noChangeAspect="1"/>
          </p:cNvGrpSpPr>
          <p:nvPr/>
        </p:nvGrpSpPr>
        <p:grpSpPr bwMode="auto">
          <a:xfrm>
            <a:off x="687388" y="430213"/>
            <a:ext cx="3238501" cy="1054101"/>
            <a:chOff x="433" y="271"/>
            <a:chExt cx="2040" cy="664"/>
          </a:xfrm>
        </p:grpSpPr>
        <p:sp>
          <p:nvSpPr>
            <p:cNvPr id="10" name="AutoShape 2">
              <a:extLst>
                <a:ext uri="{FF2B5EF4-FFF2-40B4-BE49-F238E27FC236}">
                  <a16:creationId xmlns:a16="http://schemas.microsoft.com/office/drawing/2014/main" id="{F3D56EA6-9DDF-467C-BC3C-F30045EBB1C6}"/>
                </a:ext>
              </a:extLst>
            </p:cNvPr>
            <p:cNvSpPr>
              <a:spLocks noChangeAspect="1" noChangeArrowheads="1" noTextEdit="1"/>
            </p:cNvSpPr>
            <p:nvPr/>
          </p:nvSpPr>
          <p:spPr bwMode="auto">
            <a:xfrm>
              <a:off x="438" y="300"/>
              <a:ext cx="2035" cy="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4">
              <a:extLst>
                <a:ext uri="{FF2B5EF4-FFF2-40B4-BE49-F238E27FC236}">
                  <a16:creationId xmlns:a16="http://schemas.microsoft.com/office/drawing/2014/main" id="{A79F4A9B-DD2F-4E67-BC5A-70825DE70099}"/>
                </a:ext>
              </a:extLst>
            </p:cNvPr>
            <p:cNvSpPr>
              <a:spLocks noEditPoints="1"/>
            </p:cNvSpPr>
            <p:nvPr/>
          </p:nvSpPr>
          <p:spPr bwMode="auto">
            <a:xfrm>
              <a:off x="829" y="382"/>
              <a:ext cx="236" cy="247"/>
            </a:xfrm>
            <a:custGeom>
              <a:avLst/>
              <a:gdLst>
                <a:gd name="T0" fmla="*/ 2101 w 2128"/>
                <a:gd name="T1" fmla="*/ 2017 h 2224"/>
                <a:gd name="T2" fmla="*/ 1990 w 2128"/>
                <a:gd name="T3" fmla="*/ 2017 h 2224"/>
                <a:gd name="T4" fmla="*/ 1990 w 2128"/>
                <a:gd name="T5" fmla="*/ 1964 h 2224"/>
                <a:gd name="T6" fmla="*/ 1960 w 2128"/>
                <a:gd name="T7" fmla="*/ 1934 h 2224"/>
                <a:gd name="T8" fmla="*/ 169 w 2128"/>
                <a:gd name="T9" fmla="*/ 1934 h 2224"/>
                <a:gd name="T10" fmla="*/ 139 w 2128"/>
                <a:gd name="T11" fmla="*/ 1964 h 2224"/>
                <a:gd name="T12" fmla="*/ 139 w 2128"/>
                <a:gd name="T13" fmla="*/ 2017 h 2224"/>
                <a:gd name="T14" fmla="*/ 28 w 2128"/>
                <a:gd name="T15" fmla="*/ 2017 h 2224"/>
                <a:gd name="T16" fmla="*/ 0 w 2128"/>
                <a:gd name="T17" fmla="*/ 2048 h 2224"/>
                <a:gd name="T18" fmla="*/ 0 w 2128"/>
                <a:gd name="T19" fmla="*/ 2194 h 2224"/>
                <a:gd name="T20" fmla="*/ 28 w 2128"/>
                <a:gd name="T21" fmla="*/ 2224 h 2224"/>
                <a:gd name="T22" fmla="*/ 2101 w 2128"/>
                <a:gd name="T23" fmla="*/ 2224 h 2224"/>
                <a:gd name="T24" fmla="*/ 2128 w 2128"/>
                <a:gd name="T25" fmla="*/ 2194 h 2224"/>
                <a:gd name="T26" fmla="*/ 2128 w 2128"/>
                <a:gd name="T27" fmla="*/ 2048 h 2224"/>
                <a:gd name="T28" fmla="*/ 2101 w 2128"/>
                <a:gd name="T29" fmla="*/ 2017 h 2224"/>
                <a:gd name="T30" fmla="*/ 2040 w 2128"/>
                <a:gd name="T31" fmla="*/ 851 h 2224"/>
                <a:gd name="T32" fmla="*/ 2040 w 2128"/>
                <a:gd name="T33" fmla="*/ 1000 h 2224"/>
                <a:gd name="T34" fmla="*/ 1992 w 2128"/>
                <a:gd name="T35" fmla="*/ 1020 h 2224"/>
                <a:gd name="T36" fmla="*/ 1085 w 2128"/>
                <a:gd name="T37" fmla="*/ 235 h 2224"/>
                <a:gd name="T38" fmla="*/ 1044 w 2128"/>
                <a:gd name="T39" fmla="*/ 235 h 2224"/>
                <a:gd name="T40" fmla="*/ 137 w 2128"/>
                <a:gd name="T41" fmla="*/ 1020 h 2224"/>
                <a:gd name="T42" fmla="*/ 89 w 2128"/>
                <a:gd name="T43" fmla="*/ 1000 h 2224"/>
                <a:gd name="T44" fmla="*/ 89 w 2128"/>
                <a:gd name="T45" fmla="*/ 851 h 2224"/>
                <a:gd name="T46" fmla="*/ 99 w 2128"/>
                <a:gd name="T47" fmla="*/ 828 h 2224"/>
                <a:gd name="T48" fmla="*/ 1044 w 2128"/>
                <a:gd name="T49" fmla="*/ 11 h 2224"/>
                <a:gd name="T50" fmla="*/ 1085 w 2128"/>
                <a:gd name="T51" fmla="*/ 11 h 2224"/>
                <a:gd name="T52" fmla="*/ 2030 w 2128"/>
                <a:gd name="T53" fmla="*/ 828 h 2224"/>
                <a:gd name="T54" fmla="*/ 2040 w 2128"/>
                <a:gd name="T55" fmla="*/ 851 h 2224"/>
                <a:gd name="T56" fmla="*/ 472 w 2128"/>
                <a:gd name="T57" fmla="*/ 336 h 2224"/>
                <a:gd name="T58" fmla="*/ 472 w 2128"/>
                <a:gd name="T59" fmla="*/ 28 h 2224"/>
                <a:gd name="T60" fmla="*/ 497 w 2128"/>
                <a:gd name="T61" fmla="*/ 3 h 2224"/>
                <a:gd name="T62" fmla="*/ 628 w 2128"/>
                <a:gd name="T63" fmla="*/ 3 h 2224"/>
                <a:gd name="T64" fmla="*/ 653 w 2128"/>
                <a:gd name="T65" fmla="*/ 28 h 2224"/>
                <a:gd name="T66" fmla="*/ 653 w 2128"/>
                <a:gd name="T67" fmla="*/ 180 h 2224"/>
                <a:gd name="T68" fmla="*/ 472 w 2128"/>
                <a:gd name="T69" fmla="*/ 336 h 2224"/>
                <a:gd name="T70" fmla="*/ 1064 w 2128"/>
                <a:gd name="T71" fmla="*/ 389 h 2224"/>
                <a:gd name="T72" fmla="*/ 318 w 2128"/>
                <a:gd name="T73" fmla="*/ 1033 h 2224"/>
                <a:gd name="T74" fmla="*/ 318 w 2128"/>
                <a:gd name="T75" fmla="*/ 1805 h 2224"/>
                <a:gd name="T76" fmla="*/ 1168 w 2128"/>
                <a:gd name="T77" fmla="*/ 1805 h 2224"/>
                <a:gd name="T78" fmla="*/ 1168 w 2128"/>
                <a:gd name="T79" fmla="*/ 1283 h 2224"/>
                <a:gd name="T80" fmla="*/ 1180 w 2128"/>
                <a:gd name="T81" fmla="*/ 1270 h 2224"/>
                <a:gd name="T82" fmla="*/ 1468 w 2128"/>
                <a:gd name="T83" fmla="*/ 1270 h 2224"/>
                <a:gd name="T84" fmla="*/ 1480 w 2128"/>
                <a:gd name="T85" fmla="*/ 1283 h 2224"/>
                <a:gd name="T86" fmla="*/ 1480 w 2128"/>
                <a:gd name="T87" fmla="*/ 1805 h 2224"/>
                <a:gd name="T88" fmla="*/ 1811 w 2128"/>
                <a:gd name="T89" fmla="*/ 1805 h 2224"/>
                <a:gd name="T90" fmla="*/ 1811 w 2128"/>
                <a:gd name="T91" fmla="*/ 1033 h 2224"/>
                <a:gd name="T92" fmla="*/ 1064 w 2128"/>
                <a:gd name="T93" fmla="*/ 389 h 2224"/>
                <a:gd name="T94" fmla="*/ 961 w 2128"/>
                <a:gd name="T95" fmla="*/ 1540 h 2224"/>
                <a:gd name="T96" fmla="*/ 936 w 2128"/>
                <a:gd name="T97" fmla="*/ 1566 h 2224"/>
                <a:gd name="T98" fmla="*/ 674 w 2128"/>
                <a:gd name="T99" fmla="*/ 1566 h 2224"/>
                <a:gd name="T100" fmla="*/ 648 w 2128"/>
                <a:gd name="T101" fmla="*/ 1540 h 2224"/>
                <a:gd name="T102" fmla="*/ 648 w 2128"/>
                <a:gd name="T103" fmla="*/ 1280 h 2224"/>
                <a:gd name="T104" fmla="*/ 674 w 2128"/>
                <a:gd name="T105" fmla="*/ 1255 h 2224"/>
                <a:gd name="T106" fmla="*/ 936 w 2128"/>
                <a:gd name="T107" fmla="*/ 1255 h 2224"/>
                <a:gd name="T108" fmla="*/ 961 w 2128"/>
                <a:gd name="T109" fmla="*/ 1280 h 2224"/>
                <a:gd name="T110" fmla="*/ 961 w 2128"/>
                <a:gd name="T111" fmla="*/ 1540 h 2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28" h="2224">
                  <a:moveTo>
                    <a:pt x="2101" y="2017"/>
                  </a:moveTo>
                  <a:cubicBezTo>
                    <a:pt x="1990" y="2017"/>
                    <a:pt x="1990" y="2017"/>
                    <a:pt x="1990" y="2017"/>
                  </a:cubicBezTo>
                  <a:cubicBezTo>
                    <a:pt x="1990" y="1964"/>
                    <a:pt x="1990" y="1964"/>
                    <a:pt x="1990" y="1964"/>
                  </a:cubicBezTo>
                  <a:cubicBezTo>
                    <a:pt x="1990" y="1947"/>
                    <a:pt x="1975" y="1934"/>
                    <a:pt x="1960" y="1934"/>
                  </a:cubicBezTo>
                  <a:cubicBezTo>
                    <a:pt x="169" y="1934"/>
                    <a:pt x="169" y="1934"/>
                    <a:pt x="169" y="1934"/>
                  </a:cubicBezTo>
                  <a:cubicBezTo>
                    <a:pt x="154" y="1934"/>
                    <a:pt x="139" y="1947"/>
                    <a:pt x="139" y="1964"/>
                  </a:cubicBezTo>
                  <a:cubicBezTo>
                    <a:pt x="139" y="2017"/>
                    <a:pt x="139" y="2017"/>
                    <a:pt x="139" y="2017"/>
                  </a:cubicBezTo>
                  <a:cubicBezTo>
                    <a:pt x="28" y="2017"/>
                    <a:pt x="28" y="2017"/>
                    <a:pt x="28" y="2017"/>
                  </a:cubicBezTo>
                  <a:cubicBezTo>
                    <a:pt x="13" y="2017"/>
                    <a:pt x="0" y="2030"/>
                    <a:pt x="0" y="2048"/>
                  </a:cubicBezTo>
                  <a:cubicBezTo>
                    <a:pt x="0" y="2194"/>
                    <a:pt x="0" y="2194"/>
                    <a:pt x="0" y="2194"/>
                  </a:cubicBezTo>
                  <a:cubicBezTo>
                    <a:pt x="0" y="2212"/>
                    <a:pt x="13" y="2224"/>
                    <a:pt x="28" y="2224"/>
                  </a:cubicBezTo>
                  <a:cubicBezTo>
                    <a:pt x="2101" y="2224"/>
                    <a:pt x="2101" y="2224"/>
                    <a:pt x="2101" y="2224"/>
                  </a:cubicBezTo>
                  <a:cubicBezTo>
                    <a:pt x="2116" y="2224"/>
                    <a:pt x="2128" y="2212"/>
                    <a:pt x="2128" y="2194"/>
                  </a:cubicBezTo>
                  <a:cubicBezTo>
                    <a:pt x="2128" y="2048"/>
                    <a:pt x="2128" y="2048"/>
                    <a:pt x="2128" y="2048"/>
                  </a:cubicBezTo>
                  <a:cubicBezTo>
                    <a:pt x="2128" y="2030"/>
                    <a:pt x="2116" y="2017"/>
                    <a:pt x="2101" y="2017"/>
                  </a:cubicBezTo>
                  <a:close/>
                  <a:moveTo>
                    <a:pt x="2040" y="851"/>
                  </a:moveTo>
                  <a:cubicBezTo>
                    <a:pt x="2040" y="1000"/>
                    <a:pt x="2040" y="1000"/>
                    <a:pt x="2040" y="1000"/>
                  </a:cubicBezTo>
                  <a:cubicBezTo>
                    <a:pt x="2040" y="1025"/>
                    <a:pt x="2010" y="1038"/>
                    <a:pt x="1992" y="1020"/>
                  </a:cubicBezTo>
                  <a:cubicBezTo>
                    <a:pt x="1085" y="235"/>
                    <a:pt x="1085" y="235"/>
                    <a:pt x="1085" y="235"/>
                  </a:cubicBezTo>
                  <a:cubicBezTo>
                    <a:pt x="1072" y="228"/>
                    <a:pt x="1057" y="228"/>
                    <a:pt x="1044" y="235"/>
                  </a:cubicBezTo>
                  <a:cubicBezTo>
                    <a:pt x="137" y="1020"/>
                    <a:pt x="137" y="1020"/>
                    <a:pt x="137" y="1020"/>
                  </a:cubicBezTo>
                  <a:cubicBezTo>
                    <a:pt x="119" y="1038"/>
                    <a:pt x="89" y="1025"/>
                    <a:pt x="89" y="1000"/>
                  </a:cubicBezTo>
                  <a:cubicBezTo>
                    <a:pt x="89" y="851"/>
                    <a:pt x="89" y="851"/>
                    <a:pt x="89" y="851"/>
                  </a:cubicBezTo>
                  <a:cubicBezTo>
                    <a:pt x="89" y="844"/>
                    <a:pt x="91" y="834"/>
                    <a:pt x="99" y="828"/>
                  </a:cubicBezTo>
                  <a:cubicBezTo>
                    <a:pt x="1044" y="11"/>
                    <a:pt x="1044" y="11"/>
                    <a:pt x="1044" y="11"/>
                  </a:cubicBezTo>
                  <a:cubicBezTo>
                    <a:pt x="1057" y="0"/>
                    <a:pt x="1072" y="0"/>
                    <a:pt x="1085" y="11"/>
                  </a:cubicBezTo>
                  <a:cubicBezTo>
                    <a:pt x="2030" y="828"/>
                    <a:pt x="2030" y="828"/>
                    <a:pt x="2030" y="828"/>
                  </a:cubicBezTo>
                  <a:cubicBezTo>
                    <a:pt x="2038" y="834"/>
                    <a:pt x="2040" y="844"/>
                    <a:pt x="2040" y="851"/>
                  </a:cubicBezTo>
                  <a:close/>
                  <a:moveTo>
                    <a:pt x="472" y="336"/>
                  </a:moveTo>
                  <a:cubicBezTo>
                    <a:pt x="472" y="28"/>
                    <a:pt x="472" y="28"/>
                    <a:pt x="472" y="28"/>
                  </a:cubicBezTo>
                  <a:cubicBezTo>
                    <a:pt x="472" y="16"/>
                    <a:pt x="482" y="3"/>
                    <a:pt x="497" y="3"/>
                  </a:cubicBezTo>
                  <a:cubicBezTo>
                    <a:pt x="628" y="3"/>
                    <a:pt x="628" y="3"/>
                    <a:pt x="628" y="3"/>
                  </a:cubicBezTo>
                  <a:cubicBezTo>
                    <a:pt x="641" y="3"/>
                    <a:pt x="653" y="16"/>
                    <a:pt x="653" y="28"/>
                  </a:cubicBezTo>
                  <a:cubicBezTo>
                    <a:pt x="653" y="180"/>
                    <a:pt x="653" y="180"/>
                    <a:pt x="653" y="180"/>
                  </a:cubicBezTo>
                  <a:lnTo>
                    <a:pt x="472" y="336"/>
                  </a:lnTo>
                  <a:close/>
                  <a:moveTo>
                    <a:pt x="1064" y="389"/>
                  </a:moveTo>
                  <a:cubicBezTo>
                    <a:pt x="318" y="1033"/>
                    <a:pt x="318" y="1033"/>
                    <a:pt x="318" y="1033"/>
                  </a:cubicBezTo>
                  <a:cubicBezTo>
                    <a:pt x="318" y="1805"/>
                    <a:pt x="318" y="1805"/>
                    <a:pt x="318" y="1805"/>
                  </a:cubicBezTo>
                  <a:cubicBezTo>
                    <a:pt x="1168" y="1805"/>
                    <a:pt x="1168" y="1805"/>
                    <a:pt x="1168" y="1805"/>
                  </a:cubicBezTo>
                  <a:cubicBezTo>
                    <a:pt x="1168" y="1283"/>
                    <a:pt x="1168" y="1283"/>
                    <a:pt x="1168" y="1283"/>
                  </a:cubicBezTo>
                  <a:cubicBezTo>
                    <a:pt x="1168" y="1275"/>
                    <a:pt x="1175" y="1270"/>
                    <a:pt x="1180" y="1270"/>
                  </a:cubicBezTo>
                  <a:cubicBezTo>
                    <a:pt x="1468" y="1270"/>
                    <a:pt x="1468" y="1270"/>
                    <a:pt x="1468" y="1270"/>
                  </a:cubicBezTo>
                  <a:cubicBezTo>
                    <a:pt x="1473" y="1270"/>
                    <a:pt x="1480" y="1275"/>
                    <a:pt x="1480" y="1283"/>
                  </a:cubicBezTo>
                  <a:cubicBezTo>
                    <a:pt x="1480" y="1805"/>
                    <a:pt x="1480" y="1805"/>
                    <a:pt x="1480" y="1805"/>
                  </a:cubicBezTo>
                  <a:cubicBezTo>
                    <a:pt x="1811" y="1805"/>
                    <a:pt x="1811" y="1805"/>
                    <a:pt x="1811" y="1805"/>
                  </a:cubicBezTo>
                  <a:cubicBezTo>
                    <a:pt x="1811" y="1033"/>
                    <a:pt x="1811" y="1033"/>
                    <a:pt x="1811" y="1033"/>
                  </a:cubicBezTo>
                  <a:lnTo>
                    <a:pt x="1064" y="389"/>
                  </a:lnTo>
                  <a:close/>
                  <a:moveTo>
                    <a:pt x="961" y="1540"/>
                  </a:moveTo>
                  <a:cubicBezTo>
                    <a:pt x="961" y="1556"/>
                    <a:pt x="948" y="1566"/>
                    <a:pt x="936" y="1566"/>
                  </a:cubicBezTo>
                  <a:cubicBezTo>
                    <a:pt x="674" y="1566"/>
                    <a:pt x="674" y="1566"/>
                    <a:pt x="674" y="1566"/>
                  </a:cubicBezTo>
                  <a:cubicBezTo>
                    <a:pt x="661" y="1566"/>
                    <a:pt x="648" y="1556"/>
                    <a:pt x="648" y="1540"/>
                  </a:cubicBezTo>
                  <a:cubicBezTo>
                    <a:pt x="648" y="1280"/>
                    <a:pt x="648" y="1280"/>
                    <a:pt x="648" y="1280"/>
                  </a:cubicBezTo>
                  <a:cubicBezTo>
                    <a:pt x="648" y="1268"/>
                    <a:pt x="661" y="1255"/>
                    <a:pt x="674" y="1255"/>
                  </a:cubicBezTo>
                  <a:cubicBezTo>
                    <a:pt x="936" y="1255"/>
                    <a:pt x="936" y="1255"/>
                    <a:pt x="936" y="1255"/>
                  </a:cubicBezTo>
                  <a:cubicBezTo>
                    <a:pt x="948" y="1255"/>
                    <a:pt x="961" y="1268"/>
                    <a:pt x="961" y="1280"/>
                  </a:cubicBezTo>
                  <a:lnTo>
                    <a:pt x="961" y="1540"/>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12" name="Freeform 5">
              <a:extLst>
                <a:ext uri="{FF2B5EF4-FFF2-40B4-BE49-F238E27FC236}">
                  <a16:creationId xmlns:a16="http://schemas.microsoft.com/office/drawing/2014/main" id="{F45AEE61-E401-49C6-9AEA-FAEB27DF2025}"/>
                </a:ext>
              </a:extLst>
            </p:cNvPr>
            <p:cNvSpPr>
              <a:spLocks noEditPoints="1"/>
            </p:cNvSpPr>
            <p:nvPr/>
          </p:nvSpPr>
          <p:spPr bwMode="auto">
            <a:xfrm>
              <a:off x="433" y="271"/>
              <a:ext cx="740" cy="496"/>
            </a:xfrm>
            <a:custGeom>
              <a:avLst/>
              <a:gdLst>
                <a:gd name="T0" fmla="*/ 6450 w 6673"/>
                <a:gd name="T1" fmla="*/ 3068 h 4464"/>
                <a:gd name="T2" fmla="*/ 6478 w 6673"/>
                <a:gd name="T3" fmla="*/ 1533 h 4464"/>
                <a:gd name="T4" fmla="*/ 3884 w 6673"/>
                <a:gd name="T5" fmla="*/ 403 h 4464"/>
                <a:gd name="T6" fmla="*/ 2780 w 6673"/>
                <a:gd name="T7" fmla="*/ 1464 h 4464"/>
                <a:gd name="T8" fmla="*/ 2666 w 6673"/>
                <a:gd name="T9" fmla="*/ 2744 h 4464"/>
                <a:gd name="T10" fmla="*/ 2295 w 6673"/>
                <a:gd name="T11" fmla="*/ 2888 h 4464"/>
                <a:gd name="T12" fmla="*/ 2236 w 6673"/>
                <a:gd name="T13" fmla="*/ 2747 h 4464"/>
                <a:gd name="T14" fmla="*/ 2154 w 6673"/>
                <a:gd name="T15" fmla="*/ 2657 h 4464"/>
                <a:gd name="T16" fmla="*/ 2040 w 6673"/>
                <a:gd name="T17" fmla="*/ 2659 h 4464"/>
                <a:gd name="T18" fmla="*/ 257 w 6673"/>
                <a:gd name="T19" fmla="*/ 3353 h 4464"/>
                <a:gd name="T20" fmla="*/ 118 w 6673"/>
                <a:gd name="T21" fmla="*/ 4028 h 4464"/>
                <a:gd name="T22" fmla="*/ 329 w 6673"/>
                <a:gd name="T23" fmla="*/ 4343 h 4464"/>
                <a:gd name="T24" fmla="*/ 396 w 6673"/>
                <a:gd name="T25" fmla="*/ 4392 h 4464"/>
                <a:gd name="T26" fmla="*/ 680 w 6673"/>
                <a:gd name="T27" fmla="*/ 4429 h 4464"/>
                <a:gd name="T28" fmla="*/ 2456 w 6673"/>
                <a:gd name="T29" fmla="*/ 3731 h 4464"/>
                <a:gd name="T30" fmla="*/ 2545 w 6673"/>
                <a:gd name="T31" fmla="*/ 3535 h 4464"/>
                <a:gd name="T32" fmla="*/ 2484 w 6673"/>
                <a:gd name="T33" fmla="*/ 3384 h 4464"/>
                <a:gd name="T34" fmla="*/ 2864 w 6673"/>
                <a:gd name="T35" fmla="*/ 3238 h 4464"/>
                <a:gd name="T36" fmla="*/ 3561 w 6673"/>
                <a:gd name="T37" fmla="*/ 3972 h 4464"/>
                <a:gd name="T38" fmla="*/ 3812 w 6673"/>
                <a:gd name="T39" fmla="*/ 4102 h 4464"/>
                <a:gd name="T40" fmla="*/ 5346 w 6673"/>
                <a:gd name="T41" fmla="*/ 4129 h 4464"/>
                <a:gd name="T42" fmla="*/ 6450 w 6673"/>
                <a:gd name="T43" fmla="*/ 3068 h 4464"/>
                <a:gd name="T44" fmla="*/ 5235 w 6673"/>
                <a:gd name="T45" fmla="*/ 3850 h 4464"/>
                <a:gd name="T46" fmla="*/ 3031 w 6673"/>
                <a:gd name="T47" fmla="*/ 2887 h 4464"/>
                <a:gd name="T48" fmla="*/ 3995 w 6673"/>
                <a:gd name="T49" fmla="*/ 681 h 4464"/>
                <a:gd name="T50" fmla="*/ 5505 w 6673"/>
                <a:gd name="T51" fmla="*/ 815 h 4464"/>
                <a:gd name="T52" fmla="*/ 6199 w 6673"/>
                <a:gd name="T53" fmla="*/ 1645 h 4464"/>
                <a:gd name="T54" fmla="*/ 6170 w 6673"/>
                <a:gd name="T55" fmla="*/ 2945 h 4464"/>
                <a:gd name="T56" fmla="*/ 5235 w 6673"/>
                <a:gd name="T57" fmla="*/ 3850 h 4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673" h="4464">
                  <a:moveTo>
                    <a:pt x="6450" y="3068"/>
                  </a:moveTo>
                  <a:cubicBezTo>
                    <a:pt x="6663" y="2576"/>
                    <a:pt x="6673" y="2032"/>
                    <a:pt x="6478" y="1533"/>
                  </a:cubicBezTo>
                  <a:cubicBezTo>
                    <a:pt x="6073" y="508"/>
                    <a:pt x="4914" y="0"/>
                    <a:pt x="3884" y="403"/>
                  </a:cubicBezTo>
                  <a:cubicBezTo>
                    <a:pt x="3384" y="598"/>
                    <a:pt x="2993" y="972"/>
                    <a:pt x="2780" y="1464"/>
                  </a:cubicBezTo>
                  <a:cubicBezTo>
                    <a:pt x="2603" y="1873"/>
                    <a:pt x="2564" y="2318"/>
                    <a:pt x="2666" y="2744"/>
                  </a:cubicBezTo>
                  <a:cubicBezTo>
                    <a:pt x="2295" y="2888"/>
                    <a:pt x="2295" y="2888"/>
                    <a:pt x="2295" y="2888"/>
                  </a:cubicBezTo>
                  <a:cubicBezTo>
                    <a:pt x="2236" y="2747"/>
                    <a:pt x="2236" y="2747"/>
                    <a:pt x="2236" y="2747"/>
                  </a:cubicBezTo>
                  <a:cubicBezTo>
                    <a:pt x="2221" y="2706"/>
                    <a:pt x="2193" y="2672"/>
                    <a:pt x="2154" y="2657"/>
                  </a:cubicBezTo>
                  <a:cubicBezTo>
                    <a:pt x="2121" y="2645"/>
                    <a:pt x="2075" y="2641"/>
                    <a:pt x="2040" y="2659"/>
                  </a:cubicBezTo>
                  <a:cubicBezTo>
                    <a:pt x="257" y="3353"/>
                    <a:pt x="257" y="3353"/>
                    <a:pt x="257" y="3353"/>
                  </a:cubicBezTo>
                  <a:cubicBezTo>
                    <a:pt x="61" y="3435"/>
                    <a:pt x="0" y="3720"/>
                    <a:pt x="118" y="4028"/>
                  </a:cubicBezTo>
                  <a:cubicBezTo>
                    <a:pt x="169" y="4156"/>
                    <a:pt x="246" y="4267"/>
                    <a:pt x="329" y="4343"/>
                  </a:cubicBezTo>
                  <a:cubicBezTo>
                    <a:pt x="358" y="4361"/>
                    <a:pt x="378" y="4381"/>
                    <a:pt x="396" y="4392"/>
                  </a:cubicBezTo>
                  <a:cubicBezTo>
                    <a:pt x="490" y="4449"/>
                    <a:pt x="593" y="4464"/>
                    <a:pt x="680" y="4429"/>
                  </a:cubicBezTo>
                  <a:cubicBezTo>
                    <a:pt x="2456" y="3731"/>
                    <a:pt x="2456" y="3731"/>
                    <a:pt x="2456" y="3731"/>
                  </a:cubicBezTo>
                  <a:cubicBezTo>
                    <a:pt x="2530" y="3704"/>
                    <a:pt x="2569" y="3614"/>
                    <a:pt x="2545" y="3535"/>
                  </a:cubicBezTo>
                  <a:cubicBezTo>
                    <a:pt x="2484" y="3384"/>
                    <a:pt x="2484" y="3384"/>
                    <a:pt x="2484" y="3384"/>
                  </a:cubicBezTo>
                  <a:cubicBezTo>
                    <a:pt x="2864" y="3238"/>
                    <a:pt x="2864" y="3238"/>
                    <a:pt x="2864" y="3238"/>
                  </a:cubicBezTo>
                  <a:cubicBezTo>
                    <a:pt x="3032" y="3543"/>
                    <a:pt x="3267" y="3792"/>
                    <a:pt x="3561" y="3972"/>
                  </a:cubicBezTo>
                  <a:cubicBezTo>
                    <a:pt x="3643" y="4022"/>
                    <a:pt x="3723" y="4063"/>
                    <a:pt x="3812" y="4102"/>
                  </a:cubicBezTo>
                  <a:cubicBezTo>
                    <a:pt x="4304" y="4315"/>
                    <a:pt x="4847" y="4324"/>
                    <a:pt x="5346" y="4129"/>
                  </a:cubicBezTo>
                  <a:cubicBezTo>
                    <a:pt x="5846" y="3934"/>
                    <a:pt x="6237" y="3560"/>
                    <a:pt x="6450" y="3068"/>
                  </a:cubicBezTo>
                  <a:close/>
                  <a:moveTo>
                    <a:pt x="5235" y="3850"/>
                  </a:moveTo>
                  <a:cubicBezTo>
                    <a:pt x="4364" y="4190"/>
                    <a:pt x="3375" y="3761"/>
                    <a:pt x="3031" y="2887"/>
                  </a:cubicBezTo>
                  <a:cubicBezTo>
                    <a:pt x="2692" y="2017"/>
                    <a:pt x="3121" y="1027"/>
                    <a:pt x="3995" y="681"/>
                  </a:cubicBezTo>
                  <a:cubicBezTo>
                    <a:pt x="4514" y="482"/>
                    <a:pt x="5071" y="548"/>
                    <a:pt x="5505" y="815"/>
                  </a:cubicBezTo>
                  <a:cubicBezTo>
                    <a:pt x="5810" y="1002"/>
                    <a:pt x="6054" y="1289"/>
                    <a:pt x="6199" y="1645"/>
                  </a:cubicBezTo>
                  <a:cubicBezTo>
                    <a:pt x="6361" y="2067"/>
                    <a:pt x="6351" y="2530"/>
                    <a:pt x="6170" y="2945"/>
                  </a:cubicBezTo>
                  <a:cubicBezTo>
                    <a:pt x="5988" y="3359"/>
                    <a:pt x="5660" y="3683"/>
                    <a:pt x="5235" y="3850"/>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13" name="Rectangle 6">
              <a:extLst>
                <a:ext uri="{FF2B5EF4-FFF2-40B4-BE49-F238E27FC236}">
                  <a16:creationId xmlns:a16="http://schemas.microsoft.com/office/drawing/2014/main" id="{2072E734-49FA-4D60-807B-EBFF2323C28A}"/>
                </a:ext>
              </a:extLst>
            </p:cNvPr>
            <p:cNvSpPr>
              <a:spLocks noChangeArrowheads="1"/>
            </p:cNvSpPr>
            <p:nvPr/>
          </p:nvSpPr>
          <p:spPr bwMode="auto">
            <a:xfrm>
              <a:off x="1212" y="410"/>
              <a:ext cx="1093" cy="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700" b="1" i="0" u="none" strike="noStrike" cap="none" normalizeH="0" baseline="0" dirty="0" err="1">
                  <a:ln>
                    <a:noFill/>
                  </a:ln>
                  <a:solidFill>
                    <a:srgbClr val="FFFFFF"/>
                  </a:solidFill>
                  <a:effectLst/>
                  <a:latin typeface="Trebuchet MS" panose="020B0603020202020204" pitchFamily="34" charset="0"/>
                </a:rPr>
                <a:t>GetReal</a:t>
              </a:r>
              <a:endParaRPr kumimoji="0" lang="en-US" altLang="en-US" sz="1800" b="0" i="0" u="none" strike="noStrike" cap="none" normalizeH="0" baseline="0" dirty="0">
                <a:ln>
                  <a:noFill/>
                </a:ln>
                <a:solidFill>
                  <a:srgbClr val="FFFFFF"/>
                </a:solidFill>
                <a:effectLst/>
              </a:endParaRPr>
            </a:p>
          </p:txBody>
        </p:sp>
      </p:grpSp>
    </p:spTree>
    <p:extLst>
      <p:ext uri="{BB962C8B-B14F-4D97-AF65-F5344CB8AC3E}">
        <p14:creationId xmlns:p14="http://schemas.microsoft.com/office/powerpoint/2010/main" val="3844175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2332797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1"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a:extLst>
              <a:ext uri="{FF2B5EF4-FFF2-40B4-BE49-F238E27FC236}">
                <a16:creationId xmlns:a16="http://schemas.microsoft.com/office/drawing/2014/main" id="{69E1C064-65C8-4AEA-97D7-4DE641D9EE29}"/>
              </a:ext>
            </a:extLst>
          </p:cNvPr>
          <p:cNvSpPr>
            <a:spLocks noGrp="1"/>
          </p:cNvSpPr>
          <p:nvPr>
            <p:ph type="title"/>
          </p:nvPr>
        </p:nvSpPr>
        <p:spPr>
          <a:xfrm>
            <a:off x="620364" y="586265"/>
            <a:ext cx="10917936" cy="854080"/>
          </a:xfrm>
        </p:spPr>
        <p:txBody>
          <a:bodyPr vert="horz"/>
          <a:lstStyle/>
          <a:p>
            <a:r>
              <a:rPr lang="cs-CZ" dirty="0" err="1"/>
              <a:t>datasets</a:t>
            </a:r>
            <a:r>
              <a:rPr lang="cs-CZ" dirty="0"/>
              <a:t> </a:t>
            </a:r>
            <a:r>
              <a:rPr lang="cs-CZ" dirty="0" err="1"/>
              <a:t>already</a:t>
            </a:r>
            <a:r>
              <a:rPr lang="cs-CZ" dirty="0"/>
              <a:t> </a:t>
            </a:r>
            <a:r>
              <a:rPr lang="cs-CZ" dirty="0" err="1"/>
              <a:t>used</a:t>
            </a:r>
            <a:r>
              <a:rPr lang="cs-CZ" dirty="0"/>
              <a:t> (</a:t>
            </a:r>
            <a:r>
              <a:rPr lang="cs-CZ" dirty="0" err="1"/>
              <a:t>Flatzone</a:t>
            </a:r>
            <a:r>
              <a:rPr lang="cs-CZ" dirty="0"/>
              <a:t>)</a:t>
            </a:r>
            <a:endParaRPr lang="en-GB" dirty="0"/>
          </a:p>
        </p:txBody>
      </p:sp>
    </p:spTree>
    <p:extLst>
      <p:ext uri="{BB962C8B-B14F-4D97-AF65-F5344CB8AC3E}">
        <p14:creationId xmlns:p14="http://schemas.microsoft.com/office/powerpoint/2010/main" val="158293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39459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2"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a:extLst>
              <a:ext uri="{FF2B5EF4-FFF2-40B4-BE49-F238E27FC236}">
                <a16:creationId xmlns:a16="http://schemas.microsoft.com/office/drawing/2014/main" id="{69E1C064-65C8-4AEA-97D7-4DE641D9EE29}"/>
              </a:ext>
            </a:extLst>
          </p:cNvPr>
          <p:cNvSpPr>
            <a:spLocks noGrp="1"/>
          </p:cNvSpPr>
          <p:nvPr>
            <p:ph type="title"/>
          </p:nvPr>
        </p:nvSpPr>
        <p:spPr>
          <a:xfrm>
            <a:off x="620364" y="586265"/>
            <a:ext cx="10917936" cy="854080"/>
          </a:xfrm>
        </p:spPr>
        <p:txBody>
          <a:bodyPr vert="horz"/>
          <a:lstStyle/>
          <a:p>
            <a:r>
              <a:rPr lang="cs-CZ" dirty="0" err="1"/>
              <a:t>datasets</a:t>
            </a:r>
            <a:r>
              <a:rPr lang="cs-CZ" dirty="0"/>
              <a:t> </a:t>
            </a:r>
            <a:r>
              <a:rPr lang="cs-CZ" dirty="0" err="1"/>
              <a:t>already</a:t>
            </a:r>
            <a:r>
              <a:rPr lang="cs-CZ" dirty="0"/>
              <a:t> </a:t>
            </a:r>
            <a:r>
              <a:rPr lang="cs-CZ" dirty="0" err="1"/>
              <a:t>used</a:t>
            </a:r>
            <a:r>
              <a:rPr lang="cs-CZ" dirty="0"/>
              <a:t> (</a:t>
            </a:r>
            <a:r>
              <a:rPr lang="cs-CZ" dirty="0" err="1"/>
              <a:t>Apify</a:t>
            </a:r>
            <a:r>
              <a:rPr lang="cs-CZ" dirty="0"/>
              <a:t>)</a:t>
            </a:r>
            <a:endParaRPr lang="en-GB" dirty="0"/>
          </a:p>
        </p:txBody>
      </p:sp>
    </p:spTree>
    <p:extLst>
      <p:ext uri="{BB962C8B-B14F-4D97-AF65-F5344CB8AC3E}">
        <p14:creationId xmlns:p14="http://schemas.microsoft.com/office/powerpoint/2010/main" val="278823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717680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95" name="think-cell Slide" r:id="rId8" imgW="420" imgH="420" progId="TCLayout.ActiveDocument.1">
                  <p:embed/>
                </p:oleObj>
              </mc:Choice>
              <mc:Fallback>
                <p:oleObj name="think-cell Slide" r:id="rId8" imgW="420" imgH="420" progId="TCLayout.ActiveDocument.1">
                  <p:embed/>
                  <p:pic>
                    <p:nvPicPr>
                      <p:cNvPr id="2" name="Object 1" hidden="1"/>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41" name="Picture 4">
            <a:extLst>
              <a:ext uri="{FF2B5EF4-FFF2-40B4-BE49-F238E27FC236}">
                <a16:creationId xmlns:a16="http://schemas.microsoft.com/office/drawing/2014/main" id="{F836C25F-FB78-43EC-888D-BF83A6826119}"/>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50967" t="26772" r="30372" b="43259"/>
          <a:stretch/>
        </p:blipFill>
        <p:spPr bwMode="auto">
          <a:xfrm>
            <a:off x="6744072" y="2703029"/>
            <a:ext cx="2016224" cy="2159586"/>
          </a:xfrm>
          <a:prstGeom prst="ellipse">
            <a:avLst/>
          </a:prstGeom>
          <a:noFill/>
          <a:extLst>
            <a:ext uri="{909E8E84-426E-40DD-AFC4-6F175D3DCCD1}">
              <a14:hiddenFill xmlns:a14="http://schemas.microsoft.com/office/drawing/2010/main">
                <a:solidFill>
                  <a:srgbClr val="FFFFFF"/>
                </a:solidFill>
              </a14:hiddenFill>
            </a:ext>
          </a:extLst>
        </p:spPr>
      </p:pic>
      <p:pic>
        <p:nvPicPr>
          <p:cNvPr id="62468" name="Picture 4">
            <a:extLst>
              <a:ext uri="{FF2B5EF4-FFF2-40B4-BE49-F238E27FC236}">
                <a16:creationId xmlns:a16="http://schemas.microsoft.com/office/drawing/2014/main" id="{51519D3A-1080-4CAC-8638-ACBF7FF13479}"/>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9723" t="19047" r="51616" b="50984"/>
          <a:stretch/>
        </p:blipFill>
        <p:spPr bwMode="auto">
          <a:xfrm>
            <a:off x="9408368" y="2771043"/>
            <a:ext cx="2016224" cy="2159586"/>
          </a:xfrm>
          <a:prstGeom prst="ellipse">
            <a:avLst/>
          </a:prstGeom>
          <a:noFill/>
          <a:extLst>
            <a:ext uri="{909E8E84-426E-40DD-AFC4-6F175D3DCCD1}">
              <a14:hiddenFill xmlns:a14="http://schemas.microsoft.com/office/drawing/2010/main">
                <a:solidFill>
                  <a:srgbClr val="FFFFFF"/>
                </a:solidFill>
              </a14:hiddenFill>
            </a:ext>
          </a:extLst>
        </p:spPr>
      </p:pic>
      <p:pic>
        <p:nvPicPr>
          <p:cNvPr id="62470" name="Picture 6">
            <a:extLst>
              <a:ext uri="{FF2B5EF4-FFF2-40B4-BE49-F238E27FC236}">
                <a16:creationId xmlns:a16="http://schemas.microsoft.com/office/drawing/2014/main" id="{E563926D-3F00-4F11-82AE-C6F13D6493C9}"/>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8645" t="17672" r="36031" b="45130"/>
          <a:stretch/>
        </p:blipFill>
        <p:spPr bwMode="auto">
          <a:xfrm>
            <a:off x="4151784" y="2878379"/>
            <a:ext cx="2016224" cy="1975331"/>
          </a:xfrm>
          <a:prstGeom prst="ellipse">
            <a:avLst/>
          </a:prstGeom>
          <a:noFill/>
          <a:extLst>
            <a:ext uri="{909E8E84-426E-40DD-AFC4-6F175D3DCCD1}">
              <a14:hiddenFill xmlns:a14="http://schemas.microsoft.com/office/drawing/2010/main">
                <a:solidFill>
                  <a:srgbClr val="FFFFFF"/>
                </a:solidFill>
              </a14:hiddenFill>
            </a:ext>
          </a:extLst>
        </p:spPr>
      </p:pic>
      <p:sp>
        <p:nvSpPr>
          <p:cNvPr id="10" name="Title 1"/>
          <p:cNvSpPr txBox="1">
            <a:spLocks/>
          </p:cNvSpPr>
          <p:nvPr/>
        </p:nvSpPr>
        <p:spPr>
          <a:xfrm>
            <a:off x="620364" y="1412776"/>
            <a:ext cx="2580036" cy="854080"/>
          </a:xfrm>
          <a:prstGeom prst="rect">
            <a:avLst/>
          </a:prstGeom>
        </p:spPr>
        <p:txBody>
          <a:bodyPr lIns="0"/>
          <a:lstStyle>
            <a:lvl1pPr algn="l" defTabSz="914400" rtl="0" eaLnBrk="1" latinLnBrk="0" hangingPunct="1">
              <a:lnSpc>
                <a:spcPct val="90000"/>
              </a:lnSpc>
              <a:spcBef>
                <a:spcPct val="0"/>
              </a:spcBef>
              <a:buNone/>
              <a:defRPr sz="6000" kern="1200">
                <a:solidFill>
                  <a:srgbClr val="670F31"/>
                </a:solidFill>
                <a:latin typeface="BebasNeueRegular" panose="020B0606020202050201" pitchFamily="34" charset="0"/>
                <a:ea typeface="+mj-ea"/>
                <a:cs typeface="+mj-cs"/>
              </a:defRPr>
            </a:lvl1pPr>
          </a:lstStyle>
          <a:p>
            <a:r>
              <a:rPr lang="en-US" sz="5400" dirty="0">
                <a:solidFill>
                  <a:srgbClr val="FFFFFF"/>
                </a:solidFill>
              </a:rPr>
              <a:t>We are </a:t>
            </a:r>
            <a:br>
              <a:rPr lang="en-US" sz="5400" dirty="0">
                <a:solidFill>
                  <a:srgbClr val="FFFFFF"/>
                </a:solidFill>
              </a:rPr>
            </a:br>
            <a:r>
              <a:rPr lang="en-US" sz="5400" dirty="0">
                <a:solidFill>
                  <a:srgbClr val="FFFFFF"/>
                </a:solidFill>
              </a:rPr>
              <a:t>a team with a diverse skillset</a:t>
            </a:r>
            <a:endParaRPr lang="cs-CZ" sz="5400" dirty="0">
              <a:solidFill>
                <a:srgbClr val="FFFFFF"/>
              </a:solidFill>
            </a:endParaRPr>
          </a:p>
          <a:p>
            <a:r>
              <a:rPr lang="cs-CZ" sz="2000" dirty="0" err="1">
                <a:solidFill>
                  <a:srgbClr val="FFFFFF"/>
                </a:solidFill>
              </a:rPr>
              <a:t>that</a:t>
            </a:r>
            <a:r>
              <a:rPr lang="cs-CZ" sz="2000" dirty="0">
                <a:solidFill>
                  <a:srgbClr val="FFFFFF"/>
                </a:solidFill>
              </a:rPr>
              <a:t> go/</a:t>
            </a:r>
            <a:r>
              <a:rPr lang="cs-CZ" sz="2000" dirty="0" err="1">
                <a:solidFill>
                  <a:srgbClr val="FFFFFF"/>
                </a:solidFill>
              </a:rPr>
              <a:t>went</a:t>
            </a:r>
            <a:r>
              <a:rPr lang="cs-CZ" sz="2000" dirty="0">
                <a:solidFill>
                  <a:srgbClr val="FFFFFF"/>
                </a:solidFill>
              </a:rPr>
              <a:t> to </a:t>
            </a:r>
            <a:br>
              <a:rPr lang="cs-CZ" sz="2000" dirty="0">
                <a:solidFill>
                  <a:srgbClr val="FFFFFF"/>
                </a:solidFill>
              </a:rPr>
            </a:br>
            <a:r>
              <a:rPr lang="cs-CZ" sz="2000" dirty="0" err="1">
                <a:solidFill>
                  <a:srgbClr val="FFFFFF"/>
                </a:solidFill>
              </a:rPr>
              <a:t>high</a:t>
            </a:r>
            <a:r>
              <a:rPr lang="cs-CZ" sz="2000" dirty="0">
                <a:solidFill>
                  <a:srgbClr val="FFFFFF"/>
                </a:solidFill>
              </a:rPr>
              <a:t> </a:t>
            </a:r>
            <a:r>
              <a:rPr lang="cs-CZ" sz="2000" dirty="0" err="1">
                <a:solidFill>
                  <a:srgbClr val="FFFFFF"/>
                </a:solidFill>
              </a:rPr>
              <a:t>school</a:t>
            </a:r>
            <a:r>
              <a:rPr lang="cs-CZ" sz="2000" dirty="0">
                <a:solidFill>
                  <a:srgbClr val="FFFFFF"/>
                </a:solidFill>
              </a:rPr>
              <a:t> </a:t>
            </a:r>
            <a:br>
              <a:rPr lang="cs-CZ" sz="2000" dirty="0">
                <a:solidFill>
                  <a:srgbClr val="FFFFFF"/>
                </a:solidFill>
              </a:rPr>
            </a:br>
            <a:r>
              <a:rPr lang="cs-CZ" sz="2000" dirty="0" err="1">
                <a:solidFill>
                  <a:srgbClr val="FFFFFF"/>
                </a:solidFill>
              </a:rPr>
              <a:t>at</a:t>
            </a:r>
            <a:r>
              <a:rPr lang="cs-CZ" sz="2000" dirty="0">
                <a:solidFill>
                  <a:srgbClr val="FFFFFF"/>
                </a:solidFill>
              </a:rPr>
              <a:t> malá strana</a:t>
            </a:r>
            <a:endParaRPr lang="en-US" sz="2000" dirty="0">
              <a:solidFill>
                <a:srgbClr val="FFFFFF"/>
              </a:solidFill>
            </a:endParaRPr>
          </a:p>
        </p:txBody>
      </p:sp>
      <p:sp>
        <p:nvSpPr>
          <p:cNvPr id="11" name="Rectangle 10"/>
          <p:cNvSpPr/>
          <p:nvPr>
            <p:custDataLst>
              <p:tags r:id="rId3"/>
            </p:custDataLst>
          </p:nvPr>
        </p:nvSpPr>
        <p:spPr>
          <a:xfrm>
            <a:off x="6175554" y="5103076"/>
            <a:ext cx="3163533" cy="1015663"/>
          </a:xfrm>
          <a:prstGeom prst="rect">
            <a:avLst/>
          </a:prstGeom>
        </p:spPr>
        <p:txBody>
          <a:bodyPr wrap="square" lIns="216000" rIns="216000" anchor="ctr">
            <a:spAutoFit/>
          </a:bodyPr>
          <a:lstStyle/>
          <a:p>
            <a:pPr algn="ctr"/>
            <a:r>
              <a:rPr lang="en-US" sz="2400" b="1" dirty="0">
                <a:solidFill>
                  <a:schemeClr val="tx2"/>
                </a:solidFill>
              </a:rPr>
              <a:t>Tran Duc </a:t>
            </a:r>
            <a:r>
              <a:rPr lang="en-US" sz="2400" b="1" dirty="0" err="1">
                <a:solidFill>
                  <a:schemeClr val="tx2"/>
                </a:solidFill>
              </a:rPr>
              <a:t>Thien</a:t>
            </a:r>
            <a:endParaRPr lang="cs-CZ" sz="2400" b="1" dirty="0">
              <a:solidFill>
                <a:schemeClr val="tx2"/>
              </a:solidFill>
            </a:endParaRPr>
          </a:p>
          <a:p>
            <a:pPr algn="ctr"/>
            <a:r>
              <a:rPr lang="en-US" i="1" dirty="0">
                <a:solidFill>
                  <a:srgbClr val="575757"/>
                </a:solidFill>
              </a:rPr>
              <a:t>Data </a:t>
            </a:r>
            <a:r>
              <a:rPr lang="cs-CZ" i="1" dirty="0" err="1">
                <a:solidFill>
                  <a:srgbClr val="575757"/>
                </a:solidFill>
              </a:rPr>
              <a:t>Scraper</a:t>
            </a:r>
            <a:r>
              <a:rPr lang="cs-CZ" i="1" dirty="0">
                <a:solidFill>
                  <a:srgbClr val="575757"/>
                </a:solidFill>
              </a:rPr>
              <a:t> </a:t>
            </a:r>
            <a:br>
              <a:rPr lang="cs-CZ" i="1" dirty="0">
                <a:solidFill>
                  <a:srgbClr val="575757"/>
                </a:solidFill>
              </a:rPr>
            </a:br>
            <a:r>
              <a:rPr lang="cs-CZ" i="1" dirty="0">
                <a:solidFill>
                  <a:srgbClr val="575757"/>
                </a:solidFill>
              </a:rPr>
              <a:t>&amp; Python </a:t>
            </a:r>
            <a:r>
              <a:rPr lang="cs-CZ" i="1" dirty="0" err="1">
                <a:solidFill>
                  <a:srgbClr val="575757"/>
                </a:solidFill>
              </a:rPr>
              <a:t>dev</a:t>
            </a:r>
            <a:endParaRPr lang="en-US" sz="2400" i="1" dirty="0">
              <a:solidFill>
                <a:srgbClr val="575757"/>
              </a:solidFill>
            </a:endParaRPr>
          </a:p>
        </p:txBody>
      </p:sp>
      <p:sp>
        <p:nvSpPr>
          <p:cNvPr id="13" name="Donut 12"/>
          <p:cNvSpPr/>
          <p:nvPr/>
        </p:nvSpPr>
        <p:spPr>
          <a:xfrm rot="16200000">
            <a:off x="4012172" y="2725612"/>
            <a:ext cx="2258064" cy="2212899"/>
          </a:xfrm>
          <a:prstGeom prst="donut">
            <a:avLst>
              <a:gd name="adj" fmla="val 6921"/>
            </a:avLst>
          </a:prstGeom>
          <a:gradFill flip="none" rotWithShape="1">
            <a:gsLst>
              <a:gs pos="23000">
                <a:schemeClr val="accent2"/>
              </a:gs>
              <a:gs pos="94000">
                <a:schemeClr val="tx2"/>
              </a:gs>
            </a:gsLst>
            <a:lin ang="17400000" scaled="0"/>
            <a:tileRect/>
          </a:gradFill>
          <a:ln w="9525" cap="flat" cmpd="sng" algn="ctr">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SzPts val="1200"/>
            </a:pPr>
            <a:endParaRPr lang="en-US" sz="1200" dirty="0">
              <a:solidFill>
                <a:srgbClr val="000000"/>
              </a:solidFill>
              <a:latin typeface="Arial" pitchFamily="34" charset="0"/>
              <a:cs typeface="Arial" pitchFamily="34" charset="0"/>
            </a:endParaRPr>
          </a:p>
        </p:txBody>
      </p:sp>
      <p:sp>
        <p:nvSpPr>
          <p:cNvPr id="14" name="Donut 13"/>
          <p:cNvSpPr/>
          <p:nvPr/>
        </p:nvSpPr>
        <p:spPr>
          <a:xfrm rot="9000000">
            <a:off x="6628289" y="2725613"/>
            <a:ext cx="2258062" cy="2212897"/>
          </a:xfrm>
          <a:prstGeom prst="donut">
            <a:avLst>
              <a:gd name="adj" fmla="val 6921"/>
            </a:avLst>
          </a:prstGeom>
          <a:gradFill flip="none" rotWithShape="1">
            <a:gsLst>
              <a:gs pos="23000">
                <a:schemeClr val="accent2"/>
              </a:gs>
              <a:gs pos="94000">
                <a:schemeClr val="tx2"/>
              </a:gs>
            </a:gsLst>
            <a:lin ang="17400000" scaled="0"/>
            <a:tileRect/>
          </a:gradFill>
          <a:ln w="9525" cap="flat" cmpd="sng" algn="ctr">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SzPts val="1200"/>
            </a:pPr>
            <a:endParaRPr lang="en-US" sz="1200" dirty="0">
              <a:solidFill>
                <a:srgbClr val="000000"/>
              </a:solidFill>
              <a:latin typeface="Arial" pitchFamily="34" charset="0"/>
              <a:cs typeface="Arial" pitchFamily="34" charset="0"/>
            </a:endParaRPr>
          </a:p>
        </p:txBody>
      </p:sp>
      <p:sp>
        <p:nvSpPr>
          <p:cNvPr id="15" name="Donut 14"/>
          <p:cNvSpPr/>
          <p:nvPr/>
        </p:nvSpPr>
        <p:spPr>
          <a:xfrm rot="2700000">
            <a:off x="9244406" y="2725613"/>
            <a:ext cx="2258062" cy="2212897"/>
          </a:xfrm>
          <a:prstGeom prst="donut">
            <a:avLst>
              <a:gd name="adj" fmla="val 6921"/>
            </a:avLst>
          </a:prstGeom>
          <a:gradFill flip="none" rotWithShape="1">
            <a:gsLst>
              <a:gs pos="23000">
                <a:schemeClr val="accent2"/>
              </a:gs>
              <a:gs pos="94000">
                <a:schemeClr val="tx2"/>
              </a:gs>
            </a:gsLst>
            <a:lin ang="17400000" scaled="0"/>
            <a:tileRect/>
          </a:gradFill>
          <a:ln w="9525" cap="flat" cmpd="sng" algn="ctr">
            <a:no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SzPts val="1200"/>
            </a:pPr>
            <a:endParaRPr lang="en-US" sz="1200" dirty="0">
              <a:solidFill>
                <a:srgbClr val="000000"/>
              </a:solidFill>
              <a:latin typeface="Arial" pitchFamily="34" charset="0"/>
              <a:cs typeface="Arial" pitchFamily="34" charset="0"/>
            </a:endParaRPr>
          </a:p>
        </p:txBody>
      </p:sp>
      <p:sp>
        <p:nvSpPr>
          <p:cNvPr id="16" name="Rectangle 15"/>
          <p:cNvSpPr/>
          <p:nvPr>
            <p:custDataLst>
              <p:tags r:id="rId4"/>
            </p:custDataLst>
          </p:nvPr>
        </p:nvSpPr>
        <p:spPr>
          <a:xfrm>
            <a:off x="3559437" y="5103076"/>
            <a:ext cx="3163533" cy="1015663"/>
          </a:xfrm>
          <a:prstGeom prst="rect">
            <a:avLst/>
          </a:prstGeom>
        </p:spPr>
        <p:txBody>
          <a:bodyPr wrap="square" lIns="216000" rIns="216000" anchor="ctr">
            <a:spAutoFit/>
          </a:bodyPr>
          <a:lstStyle/>
          <a:p>
            <a:pPr algn="ctr"/>
            <a:r>
              <a:rPr lang="en-US" sz="2400" b="1" dirty="0">
                <a:solidFill>
                  <a:schemeClr val="tx2"/>
                </a:solidFill>
              </a:rPr>
              <a:t>Marek Szeles</a:t>
            </a:r>
          </a:p>
          <a:p>
            <a:pPr algn="ctr"/>
            <a:r>
              <a:rPr lang="en-US" i="1" dirty="0">
                <a:solidFill>
                  <a:srgbClr val="575757"/>
                </a:solidFill>
              </a:rPr>
              <a:t>Concept </a:t>
            </a:r>
            <a:r>
              <a:rPr lang="cs-CZ" i="1" dirty="0">
                <a:solidFill>
                  <a:srgbClr val="575757"/>
                </a:solidFill>
              </a:rPr>
              <a:t>D</a:t>
            </a:r>
            <a:r>
              <a:rPr lang="en-US" i="1" dirty="0" err="1">
                <a:solidFill>
                  <a:srgbClr val="575757"/>
                </a:solidFill>
              </a:rPr>
              <a:t>esigner</a:t>
            </a:r>
            <a:br>
              <a:rPr lang="cs-CZ" i="1" dirty="0">
                <a:solidFill>
                  <a:srgbClr val="575757"/>
                </a:solidFill>
              </a:rPr>
            </a:br>
            <a:r>
              <a:rPr lang="cs-CZ" i="1" dirty="0">
                <a:solidFill>
                  <a:srgbClr val="575757"/>
                </a:solidFill>
              </a:rPr>
              <a:t>&amp; Business </a:t>
            </a:r>
            <a:r>
              <a:rPr lang="cs-CZ" i="1" dirty="0" err="1">
                <a:solidFill>
                  <a:srgbClr val="575757"/>
                </a:solidFill>
              </a:rPr>
              <a:t>Analysis</a:t>
            </a:r>
            <a:endParaRPr lang="en-US" sz="2400" i="1" dirty="0">
              <a:solidFill>
                <a:srgbClr val="575757"/>
              </a:solidFill>
            </a:endParaRPr>
          </a:p>
        </p:txBody>
      </p:sp>
      <p:sp>
        <p:nvSpPr>
          <p:cNvPr id="43" name="Rectangle 42">
            <a:extLst>
              <a:ext uri="{FF2B5EF4-FFF2-40B4-BE49-F238E27FC236}">
                <a16:creationId xmlns:a16="http://schemas.microsoft.com/office/drawing/2014/main" id="{F974CF32-DCD4-4D1C-A1B0-2908EB1ABFBB}"/>
              </a:ext>
            </a:extLst>
          </p:cNvPr>
          <p:cNvSpPr/>
          <p:nvPr>
            <p:custDataLst>
              <p:tags r:id="rId5"/>
            </p:custDataLst>
          </p:nvPr>
        </p:nvSpPr>
        <p:spPr>
          <a:xfrm>
            <a:off x="8791670" y="5103076"/>
            <a:ext cx="3163533" cy="1015663"/>
          </a:xfrm>
          <a:prstGeom prst="rect">
            <a:avLst/>
          </a:prstGeom>
        </p:spPr>
        <p:txBody>
          <a:bodyPr wrap="square" lIns="216000" rIns="216000" anchor="ctr">
            <a:spAutoFit/>
          </a:bodyPr>
          <a:lstStyle/>
          <a:p>
            <a:pPr algn="ctr"/>
            <a:r>
              <a:rPr lang="cs-CZ" sz="2400" b="1" dirty="0">
                <a:solidFill>
                  <a:schemeClr val="tx2"/>
                </a:solidFill>
              </a:rPr>
              <a:t>Filip Vopálenský</a:t>
            </a:r>
            <a:endParaRPr lang="en-US" sz="2400" b="1" dirty="0">
              <a:solidFill>
                <a:schemeClr val="tx2"/>
              </a:solidFill>
            </a:endParaRPr>
          </a:p>
          <a:p>
            <a:pPr algn="ctr"/>
            <a:r>
              <a:rPr lang="en-US" i="1" dirty="0">
                <a:solidFill>
                  <a:srgbClr val="575757"/>
                </a:solidFill>
              </a:rPr>
              <a:t>Data </a:t>
            </a:r>
            <a:r>
              <a:rPr lang="cs-CZ" i="1" dirty="0" err="1">
                <a:solidFill>
                  <a:srgbClr val="575757"/>
                </a:solidFill>
              </a:rPr>
              <a:t>Scraper</a:t>
            </a:r>
            <a:r>
              <a:rPr lang="cs-CZ" i="1" dirty="0">
                <a:solidFill>
                  <a:srgbClr val="575757"/>
                </a:solidFill>
              </a:rPr>
              <a:t>, </a:t>
            </a:r>
            <a:br>
              <a:rPr lang="cs-CZ" i="1" dirty="0">
                <a:solidFill>
                  <a:srgbClr val="575757"/>
                </a:solidFill>
              </a:rPr>
            </a:br>
            <a:r>
              <a:rPr lang="cs-CZ" i="1" dirty="0">
                <a:solidFill>
                  <a:srgbClr val="575757"/>
                </a:solidFill>
              </a:rPr>
              <a:t>API design</a:t>
            </a:r>
            <a:endParaRPr lang="en-US" sz="2400" i="1" dirty="0">
              <a:solidFill>
                <a:srgbClr val="575757"/>
              </a:solidFill>
            </a:endParaRPr>
          </a:p>
        </p:txBody>
      </p:sp>
      <p:grpSp>
        <p:nvGrpSpPr>
          <p:cNvPr id="36" name="Group 35">
            <a:extLst>
              <a:ext uri="{FF2B5EF4-FFF2-40B4-BE49-F238E27FC236}">
                <a16:creationId xmlns:a16="http://schemas.microsoft.com/office/drawing/2014/main" id="{C5B10A29-1E80-46FA-A657-AD29658260E1}"/>
              </a:ext>
            </a:extLst>
          </p:cNvPr>
          <p:cNvGrpSpPr/>
          <p:nvPr/>
        </p:nvGrpSpPr>
        <p:grpSpPr>
          <a:xfrm>
            <a:off x="5880101" y="514351"/>
            <a:ext cx="3754438" cy="1647826"/>
            <a:chOff x="5880101" y="514351"/>
            <a:chExt cx="3754438" cy="1647826"/>
          </a:xfrm>
        </p:grpSpPr>
        <p:sp>
          <p:nvSpPr>
            <p:cNvPr id="28" name="Freeform 18">
              <a:extLst>
                <a:ext uri="{FF2B5EF4-FFF2-40B4-BE49-F238E27FC236}">
                  <a16:creationId xmlns:a16="http://schemas.microsoft.com/office/drawing/2014/main" id="{DAAE43AC-B8DD-4732-BFBE-CE0F9ED5DF88}"/>
                </a:ext>
              </a:extLst>
            </p:cNvPr>
            <p:cNvSpPr>
              <a:spLocks noEditPoints="1"/>
            </p:cNvSpPr>
            <p:nvPr/>
          </p:nvSpPr>
          <p:spPr bwMode="auto">
            <a:xfrm>
              <a:off x="5919789" y="514351"/>
              <a:ext cx="3654425" cy="908050"/>
            </a:xfrm>
            <a:custGeom>
              <a:avLst/>
              <a:gdLst>
                <a:gd name="T0" fmla="*/ 4857 w 8547"/>
                <a:gd name="T1" fmla="*/ 1574 h 2124"/>
                <a:gd name="T2" fmla="*/ 5316 w 8547"/>
                <a:gd name="T3" fmla="*/ 743 h 2124"/>
                <a:gd name="T4" fmla="*/ 4879 w 8547"/>
                <a:gd name="T5" fmla="*/ 407 h 2124"/>
                <a:gd name="T6" fmla="*/ 8547 w 8547"/>
                <a:gd name="T7" fmla="*/ 1132 h 2124"/>
                <a:gd name="T8" fmla="*/ 8111 w 8547"/>
                <a:gd name="T9" fmla="*/ 1135 h 2124"/>
                <a:gd name="T10" fmla="*/ 879 w 8547"/>
                <a:gd name="T11" fmla="*/ 392 h 2124"/>
                <a:gd name="T12" fmla="*/ 1082 w 8547"/>
                <a:gd name="T13" fmla="*/ 1667 h 2124"/>
                <a:gd name="T14" fmla="*/ 879 w 8547"/>
                <a:gd name="T15" fmla="*/ 392 h 2124"/>
                <a:gd name="T16" fmla="*/ 5242 w 8547"/>
                <a:gd name="T17" fmla="*/ 187 h 2124"/>
                <a:gd name="T18" fmla="*/ 5682 w 8547"/>
                <a:gd name="T19" fmla="*/ 969 h 2124"/>
                <a:gd name="T20" fmla="*/ 5215 w 8547"/>
                <a:gd name="T21" fmla="*/ 1781 h 2124"/>
                <a:gd name="T22" fmla="*/ 4395 w 8547"/>
                <a:gd name="T23" fmla="*/ 138 h 2124"/>
                <a:gd name="T24" fmla="*/ 3820 w 8547"/>
                <a:gd name="T25" fmla="*/ 126 h 2124"/>
                <a:gd name="T26" fmla="*/ 4016 w 8547"/>
                <a:gd name="T27" fmla="*/ 456 h 2124"/>
                <a:gd name="T28" fmla="*/ 3716 w 8547"/>
                <a:gd name="T29" fmla="*/ 390 h 2124"/>
                <a:gd name="T30" fmla="*/ 3374 w 8547"/>
                <a:gd name="T31" fmla="*/ 436 h 2124"/>
                <a:gd name="T32" fmla="*/ 3338 w 8547"/>
                <a:gd name="T33" fmla="*/ 666 h 2124"/>
                <a:gd name="T34" fmla="*/ 3722 w 8547"/>
                <a:gd name="T35" fmla="*/ 850 h 2124"/>
                <a:gd name="T36" fmla="*/ 4105 w 8547"/>
                <a:gd name="T37" fmla="*/ 1147 h 2124"/>
                <a:gd name="T38" fmla="*/ 3946 w 8547"/>
                <a:gd name="T39" fmla="*/ 1741 h 2124"/>
                <a:gd name="T40" fmla="*/ 3186 w 8547"/>
                <a:gd name="T41" fmla="*/ 1858 h 2124"/>
                <a:gd name="T42" fmla="*/ 3064 w 8547"/>
                <a:gd name="T43" fmla="*/ 1527 h 2124"/>
                <a:gd name="T44" fmla="*/ 3452 w 8547"/>
                <a:gd name="T45" fmla="*/ 1589 h 2124"/>
                <a:gd name="T46" fmla="*/ 3771 w 8547"/>
                <a:gd name="T47" fmla="*/ 1465 h 2124"/>
                <a:gd name="T48" fmla="*/ 3659 w 8547"/>
                <a:gd name="T49" fmla="*/ 1201 h 2124"/>
                <a:gd name="T50" fmla="*/ 3220 w 8547"/>
                <a:gd name="T51" fmla="*/ 1019 h 2124"/>
                <a:gd name="T52" fmla="*/ 2955 w 8547"/>
                <a:gd name="T53" fmla="*/ 604 h 2124"/>
                <a:gd name="T54" fmla="*/ 3308 w 8547"/>
                <a:gd name="T55" fmla="*/ 149 h 2124"/>
                <a:gd name="T56" fmla="*/ 2238 w 8547"/>
                <a:gd name="T57" fmla="*/ 114 h 2124"/>
                <a:gd name="T58" fmla="*/ 2544 w 8547"/>
                <a:gd name="T59" fmla="*/ 163 h 2124"/>
                <a:gd name="T60" fmla="*/ 2350 w 8547"/>
                <a:gd name="T61" fmla="*/ 405 h 2124"/>
                <a:gd name="T62" fmla="*/ 1999 w 8547"/>
                <a:gd name="T63" fmla="*/ 398 h 2124"/>
                <a:gd name="T64" fmla="*/ 1830 w 8547"/>
                <a:gd name="T65" fmla="*/ 574 h 2124"/>
                <a:gd name="T66" fmla="*/ 2096 w 8547"/>
                <a:gd name="T67" fmla="*/ 792 h 2124"/>
                <a:gd name="T68" fmla="*/ 2538 w 8547"/>
                <a:gd name="T69" fmla="*/ 1015 h 2124"/>
                <a:gd name="T70" fmla="*/ 2618 w 8547"/>
                <a:gd name="T71" fmla="*/ 1571 h 2124"/>
                <a:gd name="T72" fmla="*/ 1974 w 8547"/>
                <a:gd name="T73" fmla="*/ 1873 h 2124"/>
                <a:gd name="T74" fmla="*/ 1466 w 8547"/>
                <a:gd name="T75" fmla="*/ 1488 h 2124"/>
                <a:gd name="T76" fmla="*/ 1854 w 8547"/>
                <a:gd name="T77" fmla="*/ 1581 h 2124"/>
                <a:gd name="T78" fmla="*/ 2240 w 8547"/>
                <a:gd name="T79" fmla="*/ 1530 h 2124"/>
                <a:gd name="T80" fmla="*/ 2281 w 8547"/>
                <a:gd name="T81" fmla="*/ 1276 h 2124"/>
                <a:gd name="T82" fmla="*/ 1900 w 8547"/>
                <a:gd name="T83" fmla="*/ 1086 h 2124"/>
                <a:gd name="T84" fmla="*/ 1519 w 8547"/>
                <a:gd name="T85" fmla="*/ 791 h 2124"/>
                <a:gd name="T86" fmla="*/ 1635 w 8547"/>
                <a:gd name="T87" fmla="*/ 256 h 2124"/>
                <a:gd name="T88" fmla="*/ 6743 w 8547"/>
                <a:gd name="T89" fmla="*/ 0 h 2124"/>
                <a:gd name="T90" fmla="*/ 5832 w 8547"/>
                <a:gd name="T91" fmla="*/ 212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47" h="2124">
                  <a:moveTo>
                    <a:pt x="4716" y="407"/>
                  </a:moveTo>
                  <a:lnTo>
                    <a:pt x="4716" y="1574"/>
                  </a:lnTo>
                  <a:lnTo>
                    <a:pt x="4857" y="1574"/>
                  </a:lnTo>
                  <a:cubicBezTo>
                    <a:pt x="5014" y="1574"/>
                    <a:pt x="5134" y="1527"/>
                    <a:pt x="5215" y="1434"/>
                  </a:cubicBezTo>
                  <a:cubicBezTo>
                    <a:pt x="5297" y="1340"/>
                    <a:pt x="5338" y="1192"/>
                    <a:pt x="5338" y="990"/>
                  </a:cubicBezTo>
                  <a:cubicBezTo>
                    <a:pt x="5338" y="898"/>
                    <a:pt x="5331" y="816"/>
                    <a:pt x="5316" y="743"/>
                  </a:cubicBezTo>
                  <a:cubicBezTo>
                    <a:pt x="5301" y="671"/>
                    <a:pt x="5276" y="610"/>
                    <a:pt x="5241" y="560"/>
                  </a:cubicBezTo>
                  <a:cubicBezTo>
                    <a:pt x="5206" y="510"/>
                    <a:pt x="5158" y="472"/>
                    <a:pt x="5099" y="446"/>
                  </a:cubicBezTo>
                  <a:cubicBezTo>
                    <a:pt x="5040" y="420"/>
                    <a:pt x="4967" y="407"/>
                    <a:pt x="4879" y="407"/>
                  </a:cubicBezTo>
                  <a:lnTo>
                    <a:pt x="4716" y="407"/>
                  </a:lnTo>
                  <a:close/>
                  <a:moveTo>
                    <a:pt x="7667" y="392"/>
                  </a:moveTo>
                  <a:lnTo>
                    <a:pt x="8547" y="1132"/>
                  </a:lnTo>
                  <a:lnTo>
                    <a:pt x="7667" y="1873"/>
                  </a:lnTo>
                  <a:lnTo>
                    <a:pt x="7465" y="1667"/>
                  </a:lnTo>
                  <a:lnTo>
                    <a:pt x="8111" y="1135"/>
                  </a:lnTo>
                  <a:lnTo>
                    <a:pt x="7465" y="599"/>
                  </a:lnTo>
                  <a:lnTo>
                    <a:pt x="7667" y="392"/>
                  </a:lnTo>
                  <a:close/>
                  <a:moveTo>
                    <a:pt x="879" y="392"/>
                  </a:moveTo>
                  <a:lnTo>
                    <a:pt x="1082" y="599"/>
                  </a:lnTo>
                  <a:lnTo>
                    <a:pt x="435" y="1130"/>
                  </a:lnTo>
                  <a:lnTo>
                    <a:pt x="1082" y="1667"/>
                  </a:lnTo>
                  <a:lnTo>
                    <a:pt x="879" y="1873"/>
                  </a:lnTo>
                  <a:lnTo>
                    <a:pt x="0" y="1132"/>
                  </a:lnTo>
                  <a:lnTo>
                    <a:pt x="879" y="392"/>
                  </a:lnTo>
                  <a:close/>
                  <a:moveTo>
                    <a:pt x="4395" y="138"/>
                  </a:moveTo>
                  <a:lnTo>
                    <a:pt x="4900" y="138"/>
                  </a:lnTo>
                  <a:cubicBezTo>
                    <a:pt x="5030" y="138"/>
                    <a:pt x="5144" y="154"/>
                    <a:pt x="5242" y="187"/>
                  </a:cubicBezTo>
                  <a:cubicBezTo>
                    <a:pt x="5340" y="220"/>
                    <a:pt x="5422" y="270"/>
                    <a:pt x="5487" y="338"/>
                  </a:cubicBezTo>
                  <a:cubicBezTo>
                    <a:pt x="5552" y="405"/>
                    <a:pt x="5601" y="492"/>
                    <a:pt x="5634" y="596"/>
                  </a:cubicBezTo>
                  <a:cubicBezTo>
                    <a:pt x="5666" y="700"/>
                    <a:pt x="5682" y="825"/>
                    <a:pt x="5682" y="969"/>
                  </a:cubicBezTo>
                  <a:cubicBezTo>
                    <a:pt x="5682" y="1101"/>
                    <a:pt x="5666" y="1221"/>
                    <a:pt x="5634" y="1329"/>
                  </a:cubicBezTo>
                  <a:cubicBezTo>
                    <a:pt x="5601" y="1437"/>
                    <a:pt x="5550" y="1529"/>
                    <a:pt x="5481" y="1605"/>
                  </a:cubicBezTo>
                  <a:cubicBezTo>
                    <a:pt x="5412" y="1681"/>
                    <a:pt x="5323" y="1740"/>
                    <a:pt x="5215" y="1781"/>
                  </a:cubicBezTo>
                  <a:cubicBezTo>
                    <a:pt x="5108" y="1823"/>
                    <a:pt x="4978" y="1843"/>
                    <a:pt x="4828" y="1843"/>
                  </a:cubicBezTo>
                  <a:lnTo>
                    <a:pt x="4395" y="1843"/>
                  </a:lnTo>
                  <a:lnTo>
                    <a:pt x="4395" y="138"/>
                  </a:lnTo>
                  <a:close/>
                  <a:moveTo>
                    <a:pt x="3604" y="109"/>
                  </a:moveTo>
                  <a:cubicBezTo>
                    <a:pt x="3638" y="109"/>
                    <a:pt x="3673" y="111"/>
                    <a:pt x="3710" y="114"/>
                  </a:cubicBezTo>
                  <a:cubicBezTo>
                    <a:pt x="3747" y="117"/>
                    <a:pt x="3784" y="121"/>
                    <a:pt x="3820" y="126"/>
                  </a:cubicBezTo>
                  <a:cubicBezTo>
                    <a:pt x="3856" y="130"/>
                    <a:pt x="3891" y="136"/>
                    <a:pt x="3924" y="143"/>
                  </a:cubicBezTo>
                  <a:cubicBezTo>
                    <a:pt x="3958" y="149"/>
                    <a:pt x="3988" y="156"/>
                    <a:pt x="4016" y="163"/>
                  </a:cubicBezTo>
                  <a:lnTo>
                    <a:pt x="4016" y="456"/>
                  </a:lnTo>
                  <a:cubicBezTo>
                    <a:pt x="3988" y="446"/>
                    <a:pt x="3958" y="436"/>
                    <a:pt x="3925" y="428"/>
                  </a:cubicBezTo>
                  <a:cubicBezTo>
                    <a:pt x="3892" y="419"/>
                    <a:pt x="3858" y="411"/>
                    <a:pt x="3822" y="405"/>
                  </a:cubicBezTo>
                  <a:cubicBezTo>
                    <a:pt x="3787" y="398"/>
                    <a:pt x="3752" y="393"/>
                    <a:pt x="3716" y="390"/>
                  </a:cubicBezTo>
                  <a:cubicBezTo>
                    <a:pt x="3680" y="386"/>
                    <a:pt x="3646" y="385"/>
                    <a:pt x="3614" y="385"/>
                  </a:cubicBezTo>
                  <a:cubicBezTo>
                    <a:pt x="3558" y="385"/>
                    <a:pt x="3510" y="389"/>
                    <a:pt x="3471" y="398"/>
                  </a:cubicBezTo>
                  <a:cubicBezTo>
                    <a:pt x="3432" y="407"/>
                    <a:pt x="3399" y="420"/>
                    <a:pt x="3374" y="436"/>
                  </a:cubicBezTo>
                  <a:cubicBezTo>
                    <a:pt x="3349" y="452"/>
                    <a:pt x="3331" y="472"/>
                    <a:pt x="3319" y="495"/>
                  </a:cubicBezTo>
                  <a:cubicBezTo>
                    <a:pt x="3308" y="519"/>
                    <a:pt x="3302" y="545"/>
                    <a:pt x="3302" y="574"/>
                  </a:cubicBezTo>
                  <a:cubicBezTo>
                    <a:pt x="3302" y="609"/>
                    <a:pt x="3314" y="640"/>
                    <a:pt x="3338" y="666"/>
                  </a:cubicBezTo>
                  <a:cubicBezTo>
                    <a:pt x="3362" y="691"/>
                    <a:pt x="3394" y="714"/>
                    <a:pt x="3434" y="735"/>
                  </a:cubicBezTo>
                  <a:cubicBezTo>
                    <a:pt x="3473" y="755"/>
                    <a:pt x="3518" y="774"/>
                    <a:pt x="3568" y="792"/>
                  </a:cubicBezTo>
                  <a:cubicBezTo>
                    <a:pt x="3618" y="810"/>
                    <a:pt x="3669" y="829"/>
                    <a:pt x="3722" y="850"/>
                  </a:cubicBezTo>
                  <a:cubicBezTo>
                    <a:pt x="3774" y="870"/>
                    <a:pt x="3826" y="893"/>
                    <a:pt x="3876" y="919"/>
                  </a:cubicBezTo>
                  <a:cubicBezTo>
                    <a:pt x="3926" y="946"/>
                    <a:pt x="3971" y="977"/>
                    <a:pt x="4010" y="1015"/>
                  </a:cubicBezTo>
                  <a:cubicBezTo>
                    <a:pt x="4050" y="1052"/>
                    <a:pt x="4082" y="1096"/>
                    <a:pt x="4105" y="1147"/>
                  </a:cubicBezTo>
                  <a:cubicBezTo>
                    <a:pt x="4129" y="1198"/>
                    <a:pt x="4141" y="1258"/>
                    <a:pt x="4141" y="1328"/>
                  </a:cubicBezTo>
                  <a:cubicBezTo>
                    <a:pt x="4141" y="1421"/>
                    <a:pt x="4124" y="1502"/>
                    <a:pt x="4090" y="1571"/>
                  </a:cubicBezTo>
                  <a:cubicBezTo>
                    <a:pt x="4055" y="1639"/>
                    <a:pt x="4007" y="1696"/>
                    <a:pt x="3946" y="1741"/>
                  </a:cubicBezTo>
                  <a:cubicBezTo>
                    <a:pt x="3884" y="1786"/>
                    <a:pt x="3810" y="1819"/>
                    <a:pt x="3725" y="1841"/>
                  </a:cubicBezTo>
                  <a:cubicBezTo>
                    <a:pt x="3640" y="1862"/>
                    <a:pt x="3547" y="1873"/>
                    <a:pt x="3446" y="1873"/>
                  </a:cubicBezTo>
                  <a:cubicBezTo>
                    <a:pt x="3356" y="1873"/>
                    <a:pt x="3270" y="1868"/>
                    <a:pt x="3186" y="1858"/>
                  </a:cubicBezTo>
                  <a:cubicBezTo>
                    <a:pt x="3103" y="1847"/>
                    <a:pt x="3020" y="1830"/>
                    <a:pt x="2938" y="1805"/>
                  </a:cubicBezTo>
                  <a:lnTo>
                    <a:pt x="2938" y="1488"/>
                  </a:lnTo>
                  <a:cubicBezTo>
                    <a:pt x="2978" y="1502"/>
                    <a:pt x="3020" y="1515"/>
                    <a:pt x="3064" y="1527"/>
                  </a:cubicBezTo>
                  <a:cubicBezTo>
                    <a:pt x="3107" y="1540"/>
                    <a:pt x="3151" y="1550"/>
                    <a:pt x="3195" y="1559"/>
                  </a:cubicBezTo>
                  <a:cubicBezTo>
                    <a:pt x="3239" y="1569"/>
                    <a:pt x="3282" y="1576"/>
                    <a:pt x="3326" y="1581"/>
                  </a:cubicBezTo>
                  <a:cubicBezTo>
                    <a:pt x="3369" y="1586"/>
                    <a:pt x="3412" y="1589"/>
                    <a:pt x="3452" y="1589"/>
                  </a:cubicBezTo>
                  <a:cubicBezTo>
                    <a:pt x="3513" y="1589"/>
                    <a:pt x="3565" y="1584"/>
                    <a:pt x="3608" y="1573"/>
                  </a:cubicBezTo>
                  <a:cubicBezTo>
                    <a:pt x="3650" y="1563"/>
                    <a:pt x="3685" y="1548"/>
                    <a:pt x="3712" y="1530"/>
                  </a:cubicBezTo>
                  <a:cubicBezTo>
                    <a:pt x="3739" y="1512"/>
                    <a:pt x="3759" y="1490"/>
                    <a:pt x="3771" y="1465"/>
                  </a:cubicBezTo>
                  <a:cubicBezTo>
                    <a:pt x="3783" y="1440"/>
                    <a:pt x="3789" y="1412"/>
                    <a:pt x="3789" y="1381"/>
                  </a:cubicBezTo>
                  <a:cubicBezTo>
                    <a:pt x="3789" y="1340"/>
                    <a:pt x="3777" y="1305"/>
                    <a:pt x="3753" y="1276"/>
                  </a:cubicBezTo>
                  <a:cubicBezTo>
                    <a:pt x="3729" y="1248"/>
                    <a:pt x="3698" y="1223"/>
                    <a:pt x="3659" y="1201"/>
                  </a:cubicBezTo>
                  <a:cubicBezTo>
                    <a:pt x="3619" y="1180"/>
                    <a:pt x="3575" y="1160"/>
                    <a:pt x="3525" y="1143"/>
                  </a:cubicBezTo>
                  <a:cubicBezTo>
                    <a:pt x="3475" y="1125"/>
                    <a:pt x="3424" y="1106"/>
                    <a:pt x="3372" y="1086"/>
                  </a:cubicBezTo>
                  <a:cubicBezTo>
                    <a:pt x="3320" y="1066"/>
                    <a:pt x="3270" y="1044"/>
                    <a:pt x="3220" y="1019"/>
                  </a:cubicBezTo>
                  <a:cubicBezTo>
                    <a:pt x="3170" y="993"/>
                    <a:pt x="3125" y="962"/>
                    <a:pt x="3086" y="925"/>
                  </a:cubicBezTo>
                  <a:cubicBezTo>
                    <a:pt x="3047" y="887"/>
                    <a:pt x="3015" y="843"/>
                    <a:pt x="2991" y="791"/>
                  </a:cubicBezTo>
                  <a:cubicBezTo>
                    <a:pt x="2967" y="739"/>
                    <a:pt x="2955" y="677"/>
                    <a:pt x="2955" y="604"/>
                  </a:cubicBezTo>
                  <a:cubicBezTo>
                    <a:pt x="2955" y="537"/>
                    <a:pt x="2968" y="473"/>
                    <a:pt x="2992" y="413"/>
                  </a:cubicBezTo>
                  <a:cubicBezTo>
                    <a:pt x="3016" y="353"/>
                    <a:pt x="3054" y="301"/>
                    <a:pt x="3107" y="256"/>
                  </a:cubicBezTo>
                  <a:cubicBezTo>
                    <a:pt x="3159" y="211"/>
                    <a:pt x="3226" y="176"/>
                    <a:pt x="3308" y="149"/>
                  </a:cubicBezTo>
                  <a:cubicBezTo>
                    <a:pt x="3389" y="123"/>
                    <a:pt x="3488" y="109"/>
                    <a:pt x="3604" y="109"/>
                  </a:cubicBezTo>
                  <a:close/>
                  <a:moveTo>
                    <a:pt x="2132" y="109"/>
                  </a:moveTo>
                  <a:cubicBezTo>
                    <a:pt x="2166" y="109"/>
                    <a:pt x="2201" y="111"/>
                    <a:pt x="2238" y="114"/>
                  </a:cubicBezTo>
                  <a:cubicBezTo>
                    <a:pt x="2275" y="117"/>
                    <a:pt x="2312" y="121"/>
                    <a:pt x="2348" y="126"/>
                  </a:cubicBezTo>
                  <a:cubicBezTo>
                    <a:pt x="2384" y="130"/>
                    <a:pt x="2419" y="136"/>
                    <a:pt x="2452" y="143"/>
                  </a:cubicBezTo>
                  <a:cubicBezTo>
                    <a:pt x="2486" y="149"/>
                    <a:pt x="2516" y="156"/>
                    <a:pt x="2544" y="163"/>
                  </a:cubicBezTo>
                  <a:lnTo>
                    <a:pt x="2544" y="456"/>
                  </a:lnTo>
                  <a:cubicBezTo>
                    <a:pt x="2516" y="446"/>
                    <a:pt x="2486" y="436"/>
                    <a:pt x="2453" y="428"/>
                  </a:cubicBezTo>
                  <a:cubicBezTo>
                    <a:pt x="2420" y="419"/>
                    <a:pt x="2386" y="411"/>
                    <a:pt x="2350" y="405"/>
                  </a:cubicBezTo>
                  <a:cubicBezTo>
                    <a:pt x="2315" y="398"/>
                    <a:pt x="2280" y="393"/>
                    <a:pt x="2244" y="390"/>
                  </a:cubicBezTo>
                  <a:cubicBezTo>
                    <a:pt x="2208" y="386"/>
                    <a:pt x="2174" y="385"/>
                    <a:pt x="2142" y="385"/>
                  </a:cubicBezTo>
                  <a:cubicBezTo>
                    <a:pt x="2086" y="385"/>
                    <a:pt x="2038" y="389"/>
                    <a:pt x="1999" y="398"/>
                  </a:cubicBezTo>
                  <a:cubicBezTo>
                    <a:pt x="1960" y="407"/>
                    <a:pt x="1927" y="420"/>
                    <a:pt x="1902" y="436"/>
                  </a:cubicBezTo>
                  <a:cubicBezTo>
                    <a:pt x="1877" y="452"/>
                    <a:pt x="1859" y="472"/>
                    <a:pt x="1847" y="495"/>
                  </a:cubicBezTo>
                  <a:cubicBezTo>
                    <a:pt x="1836" y="519"/>
                    <a:pt x="1830" y="545"/>
                    <a:pt x="1830" y="574"/>
                  </a:cubicBezTo>
                  <a:cubicBezTo>
                    <a:pt x="1830" y="609"/>
                    <a:pt x="1842" y="640"/>
                    <a:pt x="1866" y="666"/>
                  </a:cubicBezTo>
                  <a:cubicBezTo>
                    <a:pt x="1890" y="691"/>
                    <a:pt x="1922" y="714"/>
                    <a:pt x="1962" y="735"/>
                  </a:cubicBezTo>
                  <a:cubicBezTo>
                    <a:pt x="2001" y="755"/>
                    <a:pt x="2046" y="774"/>
                    <a:pt x="2096" y="792"/>
                  </a:cubicBezTo>
                  <a:cubicBezTo>
                    <a:pt x="2146" y="810"/>
                    <a:pt x="2197" y="829"/>
                    <a:pt x="2250" y="850"/>
                  </a:cubicBezTo>
                  <a:cubicBezTo>
                    <a:pt x="2302" y="870"/>
                    <a:pt x="2354" y="893"/>
                    <a:pt x="2404" y="919"/>
                  </a:cubicBezTo>
                  <a:cubicBezTo>
                    <a:pt x="2454" y="946"/>
                    <a:pt x="2499" y="977"/>
                    <a:pt x="2538" y="1015"/>
                  </a:cubicBezTo>
                  <a:cubicBezTo>
                    <a:pt x="2578" y="1052"/>
                    <a:pt x="2610" y="1096"/>
                    <a:pt x="2633" y="1147"/>
                  </a:cubicBezTo>
                  <a:cubicBezTo>
                    <a:pt x="2657" y="1198"/>
                    <a:pt x="2669" y="1258"/>
                    <a:pt x="2669" y="1328"/>
                  </a:cubicBezTo>
                  <a:cubicBezTo>
                    <a:pt x="2669" y="1421"/>
                    <a:pt x="2652" y="1502"/>
                    <a:pt x="2618" y="1571"/>
                  </a:cubicBezTo>
                  <a:cubicBezTo>
                    <a:pt x="2583" y="1639"/>
                    <a:pt x="2535" y="1696"/>
                    <a:pt x="2474" y="1741"/>
                  </a:cubicBezTo>
                  <a:cubicBezTo>
                    <a:pt x="2412" y="1786"/>
                    <a:pt x="2338" y="1819"/>
                    <a:pt x="2253" y="1841"/>
                  </a:cubicBezTo>
                  <a:cubicBezTo>
                    <a:pt x="2168" y="1862"/>
                    <a:pt x="2075" y="1873"/>
                    <a:pt x="1974" y="1873"/>
                  </a:cubicBezTo>
                  <a:cubicBezTo>
                    <a:pt x="1884" y="1873"/>
                    <a:pt x="1798" y="1868"/>
                    <a:pt x="1714" y="1858"/>
                  </a:cubicBezTo>
                  <a:cubicBezTo>
                    <a:pt x="1631" y="1847"/>
                    <a:pt x="1548" y="1830"/>
                    <a:pt x="1466" y="1805"/>
                  </a:cubicBezTo>
                  <a:lnTo>
                    <a:pt x="1466" y="1488"/>
                  </a:lnTo>
                  <a:cubicBezTo>
                    <a:pt x="1506" y="1502"/>
                    <a:pt x="1548" y="1515"/>
                    <a:pt x="1592" y="1527"/>
                  </a:cubicBezTo>
                  <a:cubicBezTo>
                    <a:pt x="1635" y="1540"/>
                    <a:pt x="1679" y="1550"/>
                    <a:pt x="1723" y="1559"/>
                  </a:cubicBezTo>
                  <a:cubicBezTo>
                    <a:pt x="1767" y="1569"/>
                    <a:pt x="1810" y="1576"/>
                    <a:pt x="1854" y="1581"/>
                  </a:cubicBezTo>
                  <a:cubicBezTo>
                    <a:pt x="1897" y="1586"/>
                    <a:pt x="1940" y="1589"/>
                    <a:pt x="1980" y="1589"/>
                  </a:cubicBezTo>
                  <a:cubicBezTo>
                    <a:pt x="2041" y="1589"/>
                    <a:pt x="2093" y="1584"/>
                    <a:pt x="2136" y="1573"/>
                  </a:cubicBezTo>
                  <a:cubicBezTo>
                    <a:pt x="2178" y="1563"/>
                    <a:pt x="2213" y="1548"/>
                    <a:pt x="2240" y="1530"/>
                  </a:cubicBezTo>
                  <a:cubicBezTo>
                    <a:pt x="2267" y="1512"/>
                    <a:pt x="2287" y="1490"/>
                    <a:pt x="2299" y="1465"/>
                  </a:cubicBezTo>
                  <a:cubicBezTo>
                    <a:pt x="2311" y="1440"/>
                    <a:pt x="2317" y="1412"/>
                    <a:pt x="2317" y="1381"/>
                  </a:cubicBezTo>
                  <a:cubicBezTo>
                    <a:pt x="2317" y="1340"/>
                    <a:pt x="2305" y="1305"/>
                    <a:pt x="2281" y="1276"/>
                  </a:cubicBezTo>
                  <a:cubicBezTo>
                    <a:pt x="2257" y="1248"/>
                    <a:pt x="2226" y="1223"/>
                    <a:pt x="2187" y="1201"/>
                  </a:cubicBezTo>
                  <a:cubicBezTo>
                    <a:pt x="2147" y="1180"/>
                    <a:pt x="2103" y="1160"/>
                    <a:pt x="2053" y="1143"/>
                  </a:cubicBezTo>
                  <a:cubicBezTo>
                    <a:pt x="2003" y="1125"/>
                    <a:pt x="1952" y="1106"/>
                    <a:pt x="1900" y="1086"/>
                  </a:cubicBezTo>
                  <a:cubicBezTo>
                    <a:pt x="1848" y="1066"/>
                    <a:pt x="1798" y="1044"/>
                    <a:pt x="1748" y="1019"/>
                  </a:cubicBezTo>
                  <a:cubicBezTo>
                    <a:pt x="1698" y="993"/>
                    <a:pt x="1653" y="962"/>
                    <a:pt x="1614" y="925"/>
                  </a:cubicBezTo>
                  <a:cubicBezTo>
                    <a:pt x="1575" y="887"/>
                    <a:pt x="1543" y="843"/>
                    <a:pt x="1519" y="791"/>
                  </a:cubicBezTo>
                  <a:cubicBezTo>
                    <a:pt x="1495" y="739"/>
                    <a:pt x="1483" y="677"/>
                    <a:pt x="1483" y="604"/>
                  </a:cubicBezTo>
                  <a:cubicBezTo>
                    <a:pt x="1483" y="537"/>
                    <a:pt x="1496" y="473"/>
                    <a:pt x="1520" y="413"/>
                  </a:cubicBezTo>
                  <a:cubicBezTo>
                    <a:pt x="1544" y="353"/>
                    <a:pt x="1582" y="301"/>
                    <a:pt x="1635" y="256"/>
                  </a:cubicBezTo>
                  <a:cubicBezTo>
                    <a:pt x="1687" y="211"/>
                    <a:pt x="1754" y="176"/>
                    <a:pt x="1836" y="149"/>
                  </a:cubicBezTo>
                  <a:cubicBezTo>
                    <a:pt x="1917" y="123"/>
                    <a:pt x="2016" y="109"/>
                    <a:pt x="2132" y="109"/>
                  </a:cubicBezTo>
                  <a:close/>
                  <a:moveTo>
                    <a:pt x="6743" y="0"/>
                  </a:moveTo>
                  <a:lnTo>
                    <a:pt x="7054" y="0"/>
                  </a:lnTo>
                  <a:lnTo>
                    <a:pt x="6142" y="2124"/>
                  </a:lnTo>
                  <a:lnTo>
                    <a:pt x="5832" y="2124"/>
                  </a:lnTo>
                  <a:lnTo>
                    <a:pt x="6743" y="0"/>
                  </a:lnTo>
                  <a:close/>
                </a:path>
              </a:pathLst>
            </a:custGeom>
            <a:solidFill>
              <a:schemeClr val="accent2"/>
            </a:solid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tx2"/>
                </a:solidFill>
              </a:endParaRPr>
            </a:p>
          </p:txBody>
        </p:sp>
        <p:sp>
          <p:nvSpPr>
            <p:cNvPr id="29" name="Freeform 19">
              <a:extLst>
                <a:ext uri="{FF2B5EF4-FFF2-40B4-BE49-F238E27FC236}">
                  <a16:creationId xmlns:a16="http://schemas.microsoft.com/office/drawing/2014/main" id="{3501FA3F-4C41-4C1F-ACA3-0F6AA203DD59}"/>
                </a:ext>
              </a:extLst>
            </p:cNvPr>
            <p:cNvSpPr>
              <a:spLocks noEditPoints="1"/>
            </p:cNvSpPr>
            <p:nvPr/>
          </p:nvSpPr>
          <p:spPr bwMode="auto">
            <a:xfrm>
              <a:off x="5919789" y="514351"/>
              <a:ext cx="3652838" cy="908050"/>
            </a:xfrm>
            <a:custGeom>
              <a:avLst/>
              <a:gdLst>
                <a:gd name="T0" fmla="*/ 4857 w 8547"/>
                <a:gd name="T1" fmla="*/ 1574 h 2124"/>
                <a:gd name="T2" fmla="*/ 5316 w 8547"/>
                <a:gd name="T3" fmla="*/ 743 h 2124"/>
                <a:gd name="T4" fmla="*/ 4879 w 8547"/>
                <a:gd name="T5" fmla="*/ 407 h 2124"/>
                <a:gd name="T6" fmla="*/ 8547 w 8547"/>
                <a:gd name="T7" fmla="*/ 1132 h 2124"/>
                <a:gd name="T8" fmla="*/ 8111 w 8547"/>
                <a:gd name="T9" fmla="*/ 1135 h 2124"/>
                <a:gd name="T10" fmla="*/ 879 w 8547"/>
                <a:gd name="T11" fmla="*/ 392 h 2124"/>
                <a:gd name="T12" fmla="*/ 1082 w 8547"/>
                <a:gd name="T13" fmla="*/ 1667 h 2124"/>
                <a:gd name="T14" fmla="*/ 879 w 8547"/>
                <a:gd name="T15" fmla="*/ 392 h 2124"/>
                <a:gd name="T16" fmla="*/ 5242 w 8547"/>
                <a:gd name="T17" fmla="*/ 187 h 2124"/>
                <a:gd name="T18" fmla="*/ 5682 w 8547"/>
                <a:gd name="T19" fmla="*/ 969 h 2124"/>
                <a:gd name="T20" fmla="*/ 5215 w 8547"/>
                <a:gd name="T21" fmla="*/ 1781 h 2124"/>
                <a:gd name="T22" fmla="*/ 4395 w 8547"/>
                <a:gd name="T23" fmla="*/ 138 h 2124"/>
                <a:gd name="T24" fmla="*/ 3820 w 8547"/>
                <a:gd name="T25" fmla="*/ 126 h 2124"/>
                <a:gd name="T26" fmla="*/ 4016 w 8547"/>
                <a:gd name="T27" fmla="*/ 456 h 2124"/>
                <a:gd name="T28" fmla="*/ 3716 w 8547"/>
                <a:gd name="T29" fmla="*/ 390 h 2124"/>
                <a:gd name="T30" fmla="*/ 3374 w 8547"/>
                <a:gd name="T31" fmla="*/ 436 h 2124"/>
                <a:gd name="T32" fmla="*/ 3338 w 8547"/>
                <a:gd name="T33" fmla="*/ 666 h 2124"/>
                <a:gd name="T34" fmla="*/ 3722 w 8547"/>
                <a:gd name="T35" fmla="*/ 850 h 2124"/>
                <a:gd name="T36" fmla="*/ 4105 w 8547"/>
                <a:gd name="T37" fmla="*/ 1147 h 2124"/>
                <a:gd name="T38" fmla="*/ 3946 w 8547"/>
                <a:gd name="T39" fmla="*/ 1741 h 2124"/>
                <a:gd name="T40" fmla="*/ 3186 w 8547"/>
                <a:gd name="T41" fmla="*/ 1858 h 2124"/>
                <a:gd name="T42" fmla="*/ 3064 w 8547"/>
                <a:gd name="T43" fmla="*/ 1527 h 2124"/>
                <a:gd name="T44" fmla="*/ 3452 w 8547"/>
                <a:gd name="T45" fmla="*/ 1589 h 2124"/>
                <a:gd name="T46" fmla="*/ 3771 w 8547"/>
                <a:gd name="T47" fmla="*/ 1465 h 2124"/>
                <a:gd name="T48" fmla="*/ 3659 w 8547"/>
                <a:gd name="T49" fmla="*/ 1201 h 2124"/>
                <a:gd name="T50" fmla="*/ 3220 w 8547"/>
                <a:gd name="T51" fmla="*/ 1019 h 2124"/>
                <a:gd name="T52" fmla="*/ 2955 w 8547"/>
                <a:gd name="T53" fmla="*/ 604 h 2124"/>
                <a:gd name="T54" fmla="*/ 3308 w 8547"/>
                <a:gd name="T55" fmla="*/ 149 h 2124"/>
                <a:gd name="T56" fmla="*/ 2238 w 8547"/>
                <a:gd name="T57" fmla="*/ 114 h 2124"/>
                <a:gd name="T58" fmla="*/ 2544 w 8547"/>
                <a:gd name="T59" fmla="*/ 163 h 2124"/>
                <a:gd name="T60" fmla="*/ 2350 w 8547"/>
                <a:gd name="T61" fmla="*/ 405 h 2124"/>
                <a:gd name="T62" fmla="*/ 1999 w 8547"/>
                <a:gd name="T63" fmla="*/ 398 h 2124"/>
                <a:gd name="T64" fmla="*/ 1830 w 8547"/>
                <a:gd name="T65" fmla="*/ 574 h 2124"/>
                <a:gd name="T66" fmla="*/ 2096 w 8547"/>
                <a:gd name="T67" fmla="*/ 792 h 2124"/>
                <a:gd name="T68" fmla="*/ 2538 w 8547"/>
                <a:gd name="T69" fmla="*/ 1015 h 2124"/>
                <a:gd name="T70" fmla="*/ 2618 w 8547"/>
                <a:gd name="T71" fmla="*/ 1571 h 2124"/>
                <a:gd name="T72" fmla="*/ 1974 w 8547"/>
                <a:gd name="T73" fmla="*/ 1873 h 2124"/>
                <a:gd name="T74" fmla="*/ 1466 w 8547"/>
                <a:gd name="T75" fmla="*/ 1488 h 2124"/>
                <a:gd name="T76" fmla="*/ 1854 w 8547"/>
                <a:gd name="T77" fmla="*/ 1581 h 2124"/>
                <a:gd name="T78" fmla="*/ 2240 w 8547"/>
                <a:gd name="T79" fmla="*/ 1530 h 2124"/>
                <a:gd name="T80" fmla="*/ 2281 w 8547"/>
                <a:gd name="T81" fmla="*/ 1276 h 2124"/>
                <a:gd name="T82" fmla="*/ 1900 w 8547"/>
                <a:gd name="T83" fmla="*/ 1086 h 2124"/>
                <a:gd name="T84" fmla="*/ 1519 w 8547"/>
                <a:gd name="T85" fmla="*/ 791 h 2124"/>
                <a:gd name="T86" fmla="*/ 1635 w 8547"/>
                <a:gd name="T87" fmla="*/ 256 h 2124"/>
                <a:gd name="T88" fmla="*/ 6743 w 8547"/>
                <a:gd name="T89" fmla="*/ 0 h 2124"/>
                <a:gd name="T90" fmla="*/ 5832 w 8547"/>
                <a:gd name="T91" fmla="*/ 212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47" h="2124">
                  <a:moveTo>
                    <a:pt x="4716" y="407"/>
                  </a:moveTo>
                  <a:lnTo>
                    <a:pt x="4716" y="1574"/>
                  </a:lnTo>
                  <a:lnTo>
                    <a:pt x="4857" y="1574"/>
                  </a:lnTo>
                  <a:cubicBezTo>
                    <a:pt x="5014" y="1574"/>
                    <a:pt x="5134" y="1527"/>
                    <a:pt x="5215" y="1434"/>
                  </a:cubicBezTo>
                  <a:cubicBezTo>
                    <a:pt x="5297" y="1340"/>
                    <a:pt x="5338" y="1192"/>
                    <a:pt x="5338" y="990"/>
                  </a:cubicBezTo>
                  <a:cubicBezTo>
                    <a:pt x="5338" y="898"/>
                    <a:pt x="5331" y="816"/>
                    <a:pt x="5316" y="743"/>
                  </a:cubicBezTo>
                  <a:cubicBezTo>
                    <a:pt x="5301" y="671"/>
                    <a:pt x="5276" y="610"/>
                    <a:pt x="5241" y="560"/>
                  </a:cubicBezTo>
                  <a:cubicBezTo>
                    <a:pt x="5206" y="510"/>
                    <a:pt x="5158" y="472"/>
                    <a:pt x="5099" y="446"/>
                  </a:cubicBezTo>
                  <a:cubicBezTo>
                    <a:pt x="5040" y="420"/>
                    <a:pt x="4967" y="407"/>
                    <a:pt x="4879" y="407"/>
                  </a:cubicBezTo>
                  <a:lnTo>
                    <a:pt x="4716" y="407"/>
                  </a:lnTo>
                  <a:close/>
                  <a:moveTo>
                    <a:pt x="7667" y="392"/>
                  </a:moveTo>
                  <a:lnTo>
                    <a:pt x="8547" y="1132"/>
                  </a:lnTo>
                  <a:lnTo>
                    <a:pt x="7667" y="1873"/>
                  </a:lnTo>
                  <a:lnTo>
                    <a:pt x="7465" y="1667"/>
                  </a:lnTo>
                  <a:lnTo>
                    <a:pt x="8111" y="1135"/>
                  </a:lnTo>
                  <a:lnTo>
                    <a:pt x="7465" y="599"/>
                  </a:lnTo>
                  <a:lnTo>
                    <a:pt x="7667" y="392"/>
                  </a:lnTo>
                  <a:close/>
                  <a:moveTo>
                    <a:pt x="879" y="392"/>
                  </a:moveTo>
                  <a:lnTo>
                    <a:pt x="1082" y="599"/>
                  </a:lnTo>
                  <a:lnTo>
                    <a:pt x="435" y="1130"/>
                  </a:lnTo>
                  <a:lnTo>
                    <a:pt x="1082" y="1667"/>
                  </a:lnTo>
                  <a:lnTo>
                    <a:pt x="879" y="1873"/>
                  </a:lnTo>
                  <a:lnTo>
                    <a:pt x="0" y="1132"/>
                  </a:lnTo>
                  <a:lnTo>
                    <a:pt x="879" y="392"/>
                  </a:lnTo>
                  <a:close/>
                  <a:moveTo>
                    <a:pt x="4395" y="138"/>
                  </a:moveTo>
                  <a:lnTo>
                    <a:pt x="4900" y="138"/>
                  </a:lnTo>
                  <a:cubicBezTo>
                    <a:pt x="5030" y="138"/>
                    <a:pt x="5144" y="154"/>
                    <a:pt x="5242" y="187"/>
                  </a:cubicBezTo>
                  <a:cubicBezTo>
                    <a:pt x="5340" y="220"/>
                    <a:pt x="5422" y="270"/>
                    <a:pt x="5487" y="338"/>
                  </a:cubicBezTo>
                  <a:cubicBezTo>
                    <a:pt x="5552" y="405"/>
                    <a:pt x="5601" y="492"/>
                    <a:pt x="5634" y="596"/>
                  </a:cubicBezTo>
                  <a:cubicBezTo>
                    <a:pt x="5666" y="700"/>
                    <a:pt x="5682" y="825"/>
                    <a:pt x="5682" y="969"/>
                  </a:cubicBezTo>
                  <a:cubicBezTo>
                    <a:pt x="5682" y="1101"/>
                    <a:pt x="5666" y="1221"/>
                    <a:pt x="5634" y="1329"/>
                  </a:cubicBezTo>
                  <a:cubicBezTo>
                    <a:pt x="5601" y="1437"/>
                    <a:pt x="5550" y="1529"/>
                    <a:pt x="5481" y="1605"/>
                  </a:cubicBezTo>
                  <a:cubicBezTo>
                    <a:pt x="5412" y="1681"/>
                    <a:pt x="5323" y="1740"/>
                    <a:pt x="5215" y="1781"/>
                  </a:cubicBezTo>
                  <a:cubicBezTo>
                    <a:pt x="5108" y="1823"/>
                    <a:pt x="4978" y="1843"/>
                    <a:pt x="4828" y="1843"/>
                  </a:cubicBezTo>
                  <a:lnTo>
                    <a:pt x="4395" y="1843"/>
                  </a:lnTo>
                  <a:lnTo>
                    <a:pt x="4395" y="138"/>
                  </a:lnTo>
                  <a:close/>
                  <a:moveTo>
                    <a:pt x="3604" y="109"/>
                  </a:moveTo>
                  <a:cubicBezTo>
                    <a:pt x="3638" y="109"/>
                    <a:pt x="3673" y="111"/>
                    <a:pt x="3710" y="114"/>
                  </a:cubicBezTo>
                  <a:cubicBezTo>
                    <a:pt x="3747" y="117"/>
                    <a:pt x="3784" y="121"/>
                    <a:pt x="3820" y="126"/>
                  </a:cubicBezTo>
                  <a:cubicBezTo>
                    <a:pt x="3856" y="130"/>
                    <a:pt x="3891" y="136"/>
                    <a:pt x="3924" y="143"/>
                  </a:cubicBezTo>
                  <a:cubicBezTo>
                    <a:pt x="3958" y="149"/>
                    <a:pt x="3988" y="156"/>
                    <a:pt x="4016" y="163"/>
                  </a:cubicBezTo>
                  <a:lnTo>
                    <a:pt x="4016" y="456"/>
                  </a:lnTo>
                  <a:cubicBezTo>
                    <a:pt x="3988" y="446"/>
                    <a:pt x="3958" y="436"/>
                    <a:pt x="3925" y="428"/>
                  </a:cubicBezTo>
                  <a:cubicBezTo>
                    <a:pt x="3892" y="419"/>
                    <a:pt x="3858" y="411"/>
                    <a:pt x="3822" y="405"/>
                  </a:cubicBezTo>
                  <a:cubicBezTo>
                    <a:pt x="3787" y="398"/>
                    <a:pt x="3752" y="393"/>
                    <a:pt x="3716" y="390"/>
                  </a:cubicBezTo>
                  <a:cubicBezTo>
                    <a:pt x="3680" y="386"/>
                    <a:pt x="3646" y="385"/>
                    <a:pt x="3614" y="385"/>
                  </a:cubicBezTo>
                  <a:cubicBezTo>
                    <a:pt x="3558" y="385"/>
                    <a:pt x="3510" y="389"/>
                    <a:pt x="3471" y="398"/>
                  </a:cubicBezTo>
                  <a:cubicBezTo>
                    <a:pt x="3432" y="407"/>
                    <a:pt x="3399" y="420"/>
                    <a:pt x="3374" y="436"/>
                  </a:cubicBezTo>
                  <a:cubicBezTo>
                    <a:pt x="3349" y="452"/>
                    <a:pt x="3331" y="472"/>
                    <a:pt x="3319" y="495"/>
                  </a:cubicBezTo>
                  <a:cubicBezTo>
                    <a:pt x="3308" y="519"/>
                    <a:pt x="3302" y="545"/>
                    <a:pt x="3302" y="574"/>
                  </a:cubicBezTo>
                  <a:cubicBezTo>
                    <a:pt x="3302" y="609"/>
                    <a:pt x="3314" y="640"/>
                    <a:pt x="3338" y="666"/>
                  </a:cubicBezTo>
                  <a:cubicBezTo>
                    <a:pt x="3362" y="691"/>
                    <a:pt x="3394" y="714"/>
                    <a:pt x="3434" y="735"/>
                  </a:cubicBezTo>
                  <a:cubicBezTo>
                    <a:pt x="3473" y="755"/>
                    <a:pt x="3518" y="774"/>
                    <a:pt x="3568" y="792"/>
                  </a:cubicBezTo>
                  <a:cubicBezTo>
                    <a:pt x="3618" y="810"/>
                    <a:pt x="3669" y="829"/>
                    <a:pt x="3722" y="850"/>
                  </a:cubicBezTo>
                  <a:cubicBezTo>
                    <a:pt x="3774" y="870"/>
                    <a:pt x="3826" y="893"/>
                    <a:pt x="3876" y="919"/>
                  </a:cubicBezTo>
                  <a:cubicBezTo>
                    <a:pt x="3926" y="946"/>
                    <a:pt x="3971" y="977"/>
                    <a:pt x="4010" y="1015"/>
                  </a:cubicBezTo>
                  <a:cubicBezTo>
                    <a:pt x="4050" y="1052"/>
                    <a:pt x="4082" y="1096"/>
                    <a:pt x="4105" y="1147"/>
                  </a:cubicBezTo>
                  <a:cubicBezTo>
                    <a:pt x="4129" y="1198"/>
                    <a:pt x="4141" y="1258"/>
                    <a:pt x="4141" y="1328"/>
                  </a:cubicBezTo>
                  <a:cubicBezTo>
                    <a:pt x="4141" y="1421"/>
                    <a:pt x="4124" y="1502"/>
                    <a:pt x="4090" y="1571"/>
                  </a:cubicBezTo>
                  <a:cubicBezTo>
                    <a:pt x="4055" y="1639"/>
                    <a:pt x="4007" y="1696"/>
                    <a:pt x="3946" y="1741"/>
                  </a:cubicBezTo>
                  <a:cubicBezTo>
                    <a:pt x="3884" y="1786"/>
                    <a:pt x="3810" y="1819"/>
                    <a:pt x="3725" y="1841"/>
                  </a:cubicBezTo>
                  <a:cubicBezTo>
                    <a:pt x="3640" y="1862"/>
                    <a:pt x="3547" y="1873"/>
                    <a:pt x="3446" y="1873"/>
                  </a:cubicBezTo>
                  <a:cubicBezTo>
                    <a:pt x="3356" y="1873"/>
                    <a:pt x="3270" y="1868"/>
                    <a:pt x="3186" y="1858"/>
                  </a:cubicBezTo>
                  <a:cubicBezTo>
                    <a:pt x="3103" y="1847"/>
                    <a:pt x="3020" y="1830"/>
                    <a:pt x="2938" y="1805"/>
                  </a:cubicBezTo>
                  <a:lnTo>
                    <a:pt x="2938" y="1488"/>
                  </a:lnTo>
                  <a:cubicBezTo>
                    <a:pt x="2978" y="1502"/>
                    <a:pt x="3020" y="1515"/>
                    <a:pt x="3064" y="1527"/>
                  </a:cubicBezTo>
                  <a:cubicBezTo>
                    <a:pt x="3107" y="1540"/>
                    <a:pt x="3151" y="1550"/>
                    <a:pt x="3195" y="1559"/>
                  </a:cubicBezTo>
                  <a:cubicBezTo>
                    <a:pt x="3239" y="1569"/>
                    <a:pt x="3282" y="1576"/>
                    <a:pt x="3326" y="1581"/>
                  </a:cubicBezTo>
                  <a:cubicBezTo>
                    <a:pt x="3369" y="1586"/>
                    <a:pt x="3412" y="1589"/>
                    <a:pt x="3452" y="1589"/>
                  </a:cubicBezTo>
                  <a:cubicBezTo>
                    <a:pt x="3513" y="1589"/>
                    <a:pt x="3565" y="1584"/>
                    <a:pt x="3608" y="1573"/>
                  </a:cubicBezTo>
                  <a:cubicBezTo>
                    <a:pt x="3650" y="1563"/>
                    <a:pt x="3685" y="1548"/>
                    <a:pt x="3712" y="1530"/>
                  </a:cubicBezTo>
                  <a:cubicBezTo>
                    <a:pt x="3739" y="1512"/>
                    <a:pt x="3759" y="1490"/>
                    <a:pt x="3771" y="1465"/>
                  </a:cubicBezTo>
                  <a:cubicBezTo>
                    <a:pt x="3783" y="1440"/>
                    <a:pt x="3789" y="1412"/>
                    <a:pt x="3789" y="1381"/>
                  </a:cubicBezTo>
                  <a:cubicBezTo>
                    <a:pt x="3789" y="1340"/>
                    <a:pt x="3777" y="1305"/>
                    <a:pt x="3753" y="1276"/>
                  </a:cubicBezTo>
                  <a:cubicBezTo>
                    <a:pt x="3729" y="1248"/>
                    <a:pt x="3698" y="1223"/>
                    <a:pt x="3659" y="1201"/>
                  </a:cubicBezTo>
                  <a:cubicBezTo>
                    <a:pt x="3619" y="1180"/>
                    <a:pt x="3575" y="1160"/>
                    <a:pt x="3525" y="1143"/>
                  </a:cubicBezTo>
                  <a:cubicBezTo>
                    <a:pt x="3475" y="1125"/>
                    <a:pt x="3424" y="1106"/>
                    <a:pt x="3372" y="1086"/>
                  </a:cubicBezTo>
                  <a:cubicBezTo>
                    <a:pt x="3320" y="1066"/>
                    <a:pt x="3270" y="1044"/>
                    <a:pt x="3220" y="1019"/>
                  </a:cubicBezTo>
                  <a:cubicBezTo>
                    <a:pt x="3170" y="993"/>
                    <a:pt x="3125" y="962"/>
                    <a:pt x="3086" y="925"/>
                  </a:cubicBezTo>
                  <a:cubicBezTo>
                    <a:pt x="3047" y="887"/>
                    <a:pt x="3015" y="843"/>
                    <a:pt x="2991" y="791"/>
                  </a:cubicBezTo>
                  <a:cubicBezTo>
                    <a:pt x="2967" y="739"/>
                    <a:pt x="2955" y="677"/>
                    <a:pt x="2955" y="604"/>
                  </a:cubicBezTo>
                  <a:cubicBezTo>
                    <a:pt x="2955" y="537"/>
                    <a:pt x="2968" y="473"/>
                    <a:pt x="2992" y="413"/>
                  </a:cubicBezTo>
                  <a:cubicBezTo>
                    <a:pt x="3016" y="353"/>
                    <a:pt x="3054" y="301"/>
                    <a:pt x="3107" y="256"/>
                  </a:cubicBezTo>
                  <a:cubicBezTo>
                    <a:pt x="3159" y="211"/>
                    <a:pt x="3226" y="176"/>
                    <a:pt x="3308" y="149"/>
                  </a:cubicBezTo>
                  <a:cubicBezTo>
                    <a:pt x="3389" y="123"/>
                    <a:pt x="3488" y="109"/>
                    <a:pt x="3604" y="109"/>
                  </a:cubicBezTo>
                  <a:close/>
                  <a:moveTo>
                    <a:pt x="2132" y="109"/>
                  </a:moveTo>
                  <a:cubicBezTo>
                    <a:pt x="2166" y="109"/>
                    <a:pt x="2201" y="111"/>
                    <a:pt x="2238" y="114"/>
                  </a:cubicBezTo>
                  <a:cubicBezTo>
                    <a:pt x="2275" y="117"/>
                    <a:pt x="2312" y="121"/>
                    <a:pt x="2348" y="126"/>
                  </a:cubicBezTo>
                  <a:cubicBezTo>
                    <a:pt x="2384" y="130"/>
                    <a:pt x="2419" y="136"/>
                    <a:pt x="2452" y="143"/>
                  </a:cubicBezTo>
                  <a:cubicBezTo>
                    <a:pt x="2486" y="149"/>
                    <a:pt x="2516" y="156"/>
                    <a:pt x="2544" y="163"/>
                  </a:cubicBezTo>
                  <a:lnTo>
                    <a:pt x="2544" y="456"/>
                  </a:lnTo>
                  <a:cubicBezTo>
                    <a:pt x="2516" y="446"/>
                    <a:pt x="2486" y="436"/>
                    <a:pt x="2453" y="428"/>
                  </a:cubicBezTo>
                  <a:cubicBezTo>
                    <a:pt x="2420" y="419"/>
                    <a:pt x="2386" y="411"/>
                    <a:pt x="2350" y="405"/>
                  </a:cubicBezTo>
                  <a:cubicBezTo>
                    <a:pt x="2315" y="398"/>
                    <a:pt x="2280" y="393"/>
                    <a:pt x="2244" y="390"/>
                  </a:cubicBezTo>
                  <a:cubicBezTo>
                    <a:pt x="2208" y="386"/>
                    <a:pt x="2174" y="385"/>
                    <a:pt x="2142" y="385"/>
                  </a:cubicBezTo>
                  <a:cubicBezTo>
                    <a:pt x="2086" y="385"/>
                    <a:pt x="2038" y="389"/>
                    <a:pt x="1999" y="398"/>
                  </a:cubicBezTo>
                  <a:cubicBezTo>
                    <a:pt x="1960" y="407"/>
                    <a:pt x="1927" y="420"/>
                    <a:pt x="1902" y="436"/>
                  </a:cubicBezTo>
                  <a:cubicBezTo>
                    <a:pt x="1877" y="452"/>
                    <a:pt x="1859" y="472"/>
                    <a:pt x="1847" y="495"/>
                  </a:cubicBezTo>
                  <a:cubicBezTo>
                    <a:pt x="1836" y="519"/>
                    <a:pt x="1830" y="545"/>
                    <a:pt x="1830" y="574"/>
                  </a:cubicBezTo>
                  <a:cubicBezTo>
                    <a:pt x="1830" y="609"/>
                    <a:pt x="1842" y="640"/>
                    <a:pt x="1866" y="666"/>
                  </a:cubicBezTo>
                  <a:cubicBezTo>
                    <a:pt x="1890" y="691"/>
                    <a:pt x="1922" y="714"/>
                    <a:pt x="1962" y="735"/>
                  </a:cubicBezTo>
                  <a:cubicBezTo>
                    <a:pt x="2001" y="755"/>
                    <a:pt x="2046" y="774"/>
                    <a:pt x="2096" y="792"/>
                  </a:cubicBezTo>
                  <a:cubicBezTo>
                    <a:pt x="2146" y="810"/>
                    <a:pt x="2197" y="829"/>
                    <a:pt x="2250" y="850"/>
                  </a:cubicBezTo>
                  <a:cubicBezTo>
                    <a:pt x="2302" y="870"/>
                    <a:pt x="2354" y="893"/>
                    <a:pt x="2404" y="919"/>
                  </a:cubicBezTo>
                  <a:cubicBezTo>
                    <a:pt x="2454" y="946"/>
                    <a:pt x="2499" y="977"/>
                    <a:pt x="2538" y="1015"/>
                  </a:cubicBezTo>
                  <a:cubicBezTo>
                    <a:pt x="2578" y="1052"/>
                    <a:pt x="2610" y="1096"/>
                    <a:pt x="2633" y="1147"/>
                  </a:cubicBezTo>
                  <a:cubicBezTo>
                    <a:pt x="2657" y="1198"/>
                    <a:pt x="2669" y="1258"/>
                    <a:pt x="2669" y="1328"/>
                  </a:cubicBezTo>
                  <a:cubicBezTo>
                    <a:pt x="2669" y="1421"/>
                    <a:pt x="2652" y="1502"/>
                    <a:pt x="2618" y="1571"/>
                  </a:cubicBezTo>
                  <a:cubicBezTo>
                    <a:pt x="2583" y="1639"/>
                    <a:pt x="2535" y="1696"/>
                    <a:pt x="2474" y="1741"/>
                  </a:cubicBezTo>
                  <a:cubicBezTo>
                    <a:pt x="2412" y="1786"/>
                    <a:pt x="2338" y="1819"/>
                    <a:pt x="2253" y="1841"/>
                  </a:cubicBezTo>
                  <a:cubicBezTo>
                    <a:pt x="2168" y="1862"/>
                    <a:pt x="2075" y="1873"/>
                    <a:pt x="1974" y="1873"/>
                  </a:cubicBezTo>
                  <a:cubicBezTo>
                    <a:pt x="1884" y="1873"/>
                    <a:pt x="1798" y="1868"/>
                    <a:pt x="1714" y="1858"/>
                  </a:cubicBezTo>
                  <a:cubicBezTo>
                    <a:pt x="1631" y="1847"/>
                    <a:pt x="1548" y="1830"/>
                    <a:pt x="1466" y="1805"/>
                  </a:cubicBezTo>
                  <a:lnTo>
                    <a:pt x="1466" y="1488"/>
                  </a:lnTo>
                  <a:cubicBezTo>
                    <a:pt x="1506" y="1502"/>
                    <a:pt x="1548" y="1515"/>
                    <a:pt x="1592" y="1527"/>
                  </a:cubicBezTo>
                  <a:cubicBezTo>
                    <a:pt x="1635" y="1540"/>
                    <a:pt x="1679" y="1550"/>
                    <a:pt x="1723" y="1559"/>
                  </a:cubicBezTo>
                  <a:cubicBezTo>
                    <a:pt x="1767" y="1569"/>
                    <a:pt x="1810" y="1576"/>
                    <a:pt x="1854" y="1581"/>
                  </a:cubicBezTo>
                  <a:cubicBezTo>
                    <a:pt x="1897" y="1586"/>
                    <a:pt x="1940" y="1589"/>
                    <a:pt x="1980" y="1589"/>
                  </a:cubicBezTo>
                  <a:cubicBezTo>
                    <a:pt x="2041" y="1589"/>
                    <a:pt x="2093" y="1584"/>
                    <a:pt x="2136" y="1573"/>
                  </a:cubicBezTo>
                  <a:cubicBezTo>
                    <a:pt x="2178" y="1563"/>
                    <a:pt x="2213" y="1548"/>
                    <a:pt x="2240" y="1530"/>
                  </a:cubicBezTo>
                  <a:cubicBezTo>
                    <a:pt x="2267" y="1512"/>
                    <a:pt x="2287" y="1490"/>
                    <a:pt x="2299" y="1465"/>
                  </a:cubicBezTo>
                  <a:cubicBezTo>
                    <a:pt x="2311" y="1440"/>
                    <a:pt x="2317" y="1412"/>
                    <a:pt x="2317" y="1381"/>
                  </a:cubicBezTo>
                  <a:cubicBezTo>
                    <a:pt x="2317" y="1340"/>
                    <a:pt x="2305" y="1305"/>
                    <a:pt x="2281" y="1276"/>
                  </a:cubicBezTo>
                  <a:cubicBezTo>
                    <a:pt x="2257" y="1248"/>
                    <a:pt x="2226" y="1223"/>
                    <a:pt x="2187" y="1201"/>
                  </a:cubicBezTo>
                  <a:cubicBezTo>
                    <a:pt x="2147" y="1180"/>
                    <a:pt x="2103" y="1160"/>
                    <a:pt x="2053" y="1143"/>
                  </a:cubicBezTo>
                  <a:cubicBezTo>
                    <a:pt x="2003" y="1125"/>
                    <a:pt x="1952" y="1106"/>
                    <a:pt x="1900" y="1086"/>
                  </a:cubicBezTo>
                  <a:cubicBezTo>
                    <a:pt x="1848" y="1066"/>
                    <a:pt x="1798" y="1044"/>
                    <a:pt x="1748" y="1019"/>
                  </a:cubicBezTo>
                  <a:cubicBezTo>
                    <a:pt x="1698" y="993"/>
                    <a:pt x="1653" y="962"/>
                    <a:pt x="1614" y="925"/>
                  </a:cubicBezTo>
                  <a:cubicBezTo>
                    <a:pt x="1575" y="887"/>
                    <a:pt x="1543" y="843"/>
                    <a:pt x="1519" y="791"/>
                  </a:cubicBezTo>
                  <a:cubicBezTo>
                    <a:pt x="1495" y="739"/>
                    <a:pt x="1483" y="677"/>
                    <a:pt x="1483" y="604"/>
                  </a:cubicBezTo>
                  <a:cubicBezTo>
                    <a:pt x="1483" y="537"/>
                    <a:pt x="1496" y="473"/>
                    <a:pt x="1520" y="413"/>
                  </a:cubicBezTo>
                  <a:cubicBezTo>
                    <a:pt x="1544" y="353"/>
                    <a:pt x="1582" y="301"/>
                    <a:pt x="1635" y="256"/>
                  </a:cubicBezTo>
                  <a:cubicBezTo>
                    <a:pt x="1687" y="211"/>
                    <a:pt x="1754" y="176"/>
                    <a:pt x="1836" y="149"/>
                  </a:cubicBezTo>
                  <a:cubicBezTo>
                    <a:pt x="1917" y="123"/>
                    <a:pt x="2016" y="109"/>
                    <a:pt x="2132" y="109"/>
                  </a:cubicBezTo>
                  <a:close/>
                  <a:moveTo>
                    <a:pt x="6743" y="0"/>
                  </a:moveTo>
                  <a:lnTo>
                    <a:pt x="7054" y="0"/>
                  </a:lnTo>
                  <a:lnTo>
                    <a:pt x="6142" y="2124"/>
                  </a:lnTo>
                  <a:lnTo>
                    <a:pt x="5832" y="2124"/>
                  </a:lnTo>
                  <a:lnTo>
                    <a:pt x="6743" y="0"/>
                  </a:lnTo>
                  <a:close/>
                </a:path>
              </a:pathLst>
            </a:custGeom>
            <a:noFill/>
            <a:ln w="41275"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chemeClr val="tx2"/>
                </a:solidFill>
              </a:endParaRPr>
            </a:p>
          </p:txBody>
        </p:sp>
        <p:sp>
          <p:nvSpPr>
            <p:cNvPr id="30" name="Rectangle 20">
              <a:extLst>
                <a:ext uri="{FF2B5EF4-FFF2-40B4-BE49-F238E27FC236}">
                  <a16:creationId xmlns:a16="http://schemas.microsoft.com/office/drawing/2014/main" id="{5E6F5CD1-F7F5-4181-A79A-9E33AED7AB48}"/>
                </a:ext>
              </a:extLst>
            </p:cNvPr>
            <p:cNvSpPr>
              <a:spLocks noChangeArrowheads="1"/>
            </p:cNvSpPr>
            <p:nvPr/>
          </p:nvSpPr>
          <p:spPr bwMode="auto">
            <a:xfrm>
              <a:off x="5880101" y="1608139"/>
              <a:ext cx="12668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dirty="0">
                  <a:ln>
                    <a:noFill/>
                  </a:ln>
                  <a:solidFill>
                    <a:schemeClr val="tx2"/>
                  </a:solidFill>
                  <a:effectLst/>
                  <a:latin typeface="Consolas" panose="020B0609020204030204" pitchFamily="49" charset="0"/>
                </a:rPr>
                <a:t>Small</a:t>
              </a:r>
              <a:endParaRPr kumimoji="0" lang="en-US" altLang="en-US" sz="1800" b="0" i="0" u="none" strike="noStrike" cap="none" normalizeH="0" baseline="0" dirty="0">
                <a:ln>
                  <a:noFill/>
                </a:ln>
                <a:solidFill>
                  <a:schemeClr val="tx2"/>
                </a:solidFill>
                <a:effectLst/>
              </a:endParaRPr>
            </a:p>
          </p:txBody>
        </p:sp>
        <p:sp>
          <p:nvSpPr>
            <p:cNvPr id="33" name="Rectangle 21">
              <a:extLst>
                <a:ext uri="{FF2B5EF4-FFF2-40B4-BE49-F238E27FC236}">
                  <a16:creationId xmlns:a16="http://schemas.microsoft.com/office/drawing/2014/main" id="{ED28FFB3-585A-4B9E-930D-46EE8449EF9E}"/>
                </a:ext>
              </a:extLst>
            </p:cNvPr>
            <p:cNvSpPr>
              <a:spLocks noChangeArrowheads="1"/>
            </p:cNvSpPr>
            <p:nvPr/>
          </p:nvSpPr>
          <p:spPr bwMode="auto">
            <a:xfrm>
              <a:off x="7378701" y="1608139"/>
              <a:ext cx="10128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a:ln>
                    <a:noFill/>
                  </a:ln>
                  <a:solidFill>
                    <a:schemeClr val="tx2"/>
                  </a:solidFill>
                  <a:effectLst/>
                  <a:latin typeface="Consolas" panose="020B0609020204030204" pitchFamily="49" charset="0"/>
                </a:rPr>
                <a:t>Side</a:t>
              </a:r>
              <a:endParaRPr kumimoji="0" lang="en-US" altLang="en-US" sz="1800" b="0" i="0" u="none" strike="noStrike" cap="none" normalizeH="0" baseline="0">
                <a:ln>
                  <a:noFill/>
                </a:ln>
                <a:solidFill>
                  <a:schemeClr val="tx2"/>
                </a:solidFill>
                <a:effectLst/>
              </a:endParaRPr>
            </a:p>
          </p:txBody>
        </p:sp>
        <p:sp>
          <p:nvSpPr>
            <p:cNvPr id="34" name="Rectangle 22">
              <a:extLst>
                <a:ext uri="{FF2B5EF4-FFF2-40B4-BE49-F238E27FC236}">
                  <a16:creationId xmlns:a16="http://schemas.microsoft.com/office/drawing/2014/main" id="{4B73D3E7-DC3D-4723-90E4-79B692B42AF8}"/>
                </a:ext>
              </a:extLst>
            </p:cNvPr>
            <p:cNvSpPr>
              <a:spLocks noChangeArrowheads="1"/>
            </p:cNvSpPr>
            <p:nvPr/>
          </p:nvSpPr>
          <p:spPr bwMode="auto">
            <a:xfrm>
              <a:off x="8621714" y="1608139"/>
              <a:ext cx="10128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b="1" i="0" u="none" strike="noStrike" cap="none" normalizeH="0" baseline="0">
                  <a:ln>
                    <a:noFill/>
                  </a:ln>
                  <a:solidFill>
                    <a:schemeClr val="tx2"/>
                  </a:solidFill>
                  <a:effectLst/>
                  <a:latin typeface="Consolas" panose="020B0609020204030204" pitchFamily="49" charset="0"/>
                </a:rPr>
                <a:t>Devs</a:t>
              </a:r>
              <a:endParaRPr kumimoji="0" lang="en-US" altLang="en-US" sz="1800" b="0" i="0" u="none" strike="noStrike" cap="none" normalizeH="0" baseline="0">
                <a:ln>
                  <a:noFill/>
                </a:ln>
                <a:solidFill>
                  <a:schemeClr val="tx2"/>
                </a:solidFill>
                <a:effectLst/>
              </a:endParaRPr>
            </a:p>
          </p:txBody>
        </p:sp>
      </p:grpSp>
    </p:spTree>
    <p:extLst>
      <p:ext uri="{BB962C8B-B14F-4D97-AF65-F5344CB8AC3E}">
        <p14:creationId xmlns:p14="http://schemas.microsoft.com/office/powerpoint/2010/main" val="357569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663324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1" name="think-cell Slide" r:id="rId5" imgW="608" imgH="606" progId="TCLayout.ActiveDocument.1">
                  <p:embed/>
                </p:oleObj>
              </mc:Choice>
              <mc:Fallback>
                <p:oleObj name="think-cell Slide" r:id="rId5" imgW="608" imgH="6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a:xfrm>
            <a:off x="614083" y="2252127"/>
            <a:ext cx="4402991" cy="1138773"/>
          </a:xfrm>
        </p:spPr>
        <p:txBody>
          <a:bodyPr vert="horz"/>
          <a:lstStyle/>
          <a:p>
            <a:r>
              <a:rPr lang="cs-CZ" sz="8000" dirty="0"/>
              <a:t>User story</a:t>
            </a:r>
            <a:endParaRPr lang="en-GB" sz="8000" dirty="0"/>
          </a:p>
        </p:txBody>
      </p:sp>
      <p:sp>
        <p:nvSpPr>
          <p:cNvPr id="18" name="Text Placeholder 17">
            <a:extLst>
              <a:ext uri="{FF2B5EF4-FFF2-40B4-BE49-F238E27FC236}">
                <a16:creationId xmlns:a16="http://schemas.microsoft.com/office/drawing/2014/main" id="{A48E76D2-199B-4C84-B48B-7DB3A4F55E1A}"/>
              </a:ext>
            </a:extLst>
          </p:cNvPr>
          <p:cNvSpPr>
            <a:spLocks noGrp="1"/>
          </p:cNvSpPr>
          <p:nvPr>
            <p:ph type="body" sz="quarter" idx="12"/>
          </p:nvPr>
        </p:nvSpPr>
        <p:spPr>
          <a:xfrm>
            <a:off x="627858" y="3633787"/>
            <a:ext cx="4396195" cy="789447"/>
          </a:xfrm>
        </p:spPr>
        <p:txBody>
          <a:bodyPr/>
          <a:lstStyle/>
          <a:p>
            <a:r>
              <a:rPr lang="cs-CZ" dirty="0"/>
              <a:t>Mirek </a:t>
            </a:r>
            <a:r>
              <a:rPr lang="cs-CZ" dirty="0" err="1"/>
              <a:t>is</a:t>
            </a:r>
            <a:r>
              <a:rPr lang="cs-CZ" dirty="0"/>
              <a:t> a </a:t>
            </a:r>
            <a:r>
              <a:rPr lang="cs-CZ" dirty="0" err="1"/>
              <a:t>guy</a:t>
            </a:r>
            <a:r>
              <a:rPr lang="cs-CZ" dirty="0"/>
              <a:t> </a:t>
            </a:r>
            <a:r>
              <a:rPr lang="cs-CZ" dirty="0" err="1"/>
              <a:t>looking</a:t>
            </a:r>
            <a:r>
              <a:rPr lang="cs-CZ" dirty="0"/>
              <a:t> to </a:t>
            </a:r>
            <a:r>
              <a:rPr lang="cs-CZ" dirty="0" err="1"/>
              <a:t>find</a:t>
            </a:r>
            <a:r>
              <a:rPr lang="cs-CZ" dirty="0"/>
              <a:t> a place to live, but </a:t>
            </a:r>
            <a:r>
              <a:rPr lang="cs-CZ" dirty="0" err="1"/>
              <a:t>it</a:t>
            </a:r>
            <a:r>
              <a:rPr lang="cs-CZ" dirty="0"/>
              <a:t> </a:t>
            </a:r>
            <a:r>
              <a:rPr lang="cs-CZ" dirty="0" err="1"/>
              <a:t>proves</a:t>
            </a:r>
            <a:r>
              <a:rPr lang="cs-CZ" dirty="0"/>
              <a:t> more </a:t>
            </a:r>
            <a:r>
              <a:rPr lang="cs-CZ" dirty="0" err="1"/>
              <a:t>difficult</a:t>
            </a:r>
            <a:r>
              <a:rPr lang="cs-CZ" dirty="0"/>
              <a:t> </a:t>
            </a:r>
            <a:r>
              <a:rPr lang="cs-CZ" dirty="0" err="1"/>
              <a:t>than</a:t>
            </a:r>
            <a:r>
              <a:rPr lang="cs-CZ" dirty="0"/>
              <a:t> </a:t>
            </a:r>
            <a:r>
              <a:rPr lang="cs-CZ" dirty="0" err="1"/>
              <a:t>expected</a:t>
            </a:r>
            <a:endParaRPr lang="en-GB" dirty="0"/>
          </a:p>
        </p:txBody>
      </p:sp>
      <p:pic>
        <p:nvPicPr>
          <p:cNvPr id="22" name="Picture 21" descr="A picture containing person, outdoor, person, suit&#10;&#10;Description automatically generated">
            <a:extLst>
              <a:ext uri="{FF2B5EF4-FFF2-40B4-BE49-F238E27FC236}">
                <a16:creationId xmlns:a16="http://schemas.microsoft.com/office/drawing/2014/main" id="{7AB3147D-060D-43E7-8F71-EE763D53EE8C}"/>
              </a:ext>
            </a:extLst>
          </p:cNvPr>
          <p:cNvPicPr>
            <a:picLocks noChangeAspect="1"/>
          </p:cNvPicPr>
          <p:nvPr/>
        </p:nvPicPr>
        <p:blipFill rotWithShape="1">
          <a:blip r:embed="rId7">
            <a:extLst>
              <a:ext uri="{28A0092B-C50C-407E-A947-70E740481C1C}">
                <a14:useLocalDpi xmlns:a14="http://schemas.microsoft.com/office/drawing/2010/main" val="0"/>
              </a:ext>
            </a:extLst>
          </a:blip>
          <a:srcRect l="10447" r="30269"/>
          <a:stretch/>
        </p:blipFill>
        <p:spPr>
          <a:xfrm>
            <a:off x="6092021" y="0"/>
            <a:ext cx="6099977" cy="6858000"/>
          </a:xfrm>
          <a:custGeom>
            <a:avLst/>
            <a:gdLst>
              <a:gd name="connsiteX0" fmla="*/ 0 w 6099977"/>
              <a:gd name="connsiteY0" fmla="*/ 0 h 6858000"/>
              <a:gd name="connsiteX1" fmla="*/ 6099977 w 6099977"/>
              <a:gd name="connsiteY1" fmla="*/ 0 h 6858000"/>
              <a:gd name="connsiteX2" fmla="*/ 6099977 w 6099977"/>
              <a:gd name="connsiteY2" fmla="*/ 6858000 h 6858000"/>
              <a:gd name="connsiteX3" fmla="*/ 0 w 609997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9977" h="6858000">
                <a:moveTo>
                  <a:pt x="0" y="0"/>
                </a:moveTo>
                <a:lnTo>
                  <a:pt x="6099977" y="0"/>
                </a:lnTo>
                <a:lnTo>
                  <a:pt x="6099977" y="6858000"/>
                </a:lnTo>
                <a:lnTo>
                  <a:pt x="0" y="6858000"/>
                </a:lnTo>
                <a:close/>
              </a:path>
            </a:pathLst>
          </a:custGeom>
        </p:spPr>
      </p:pic>
      <p:pic>
        <p:nvPicPr>
          <p:cNvPr id="24" name="Picture 23" descr="A picture containing person, outdoor, person, suit&#10;&#10;Description automatically generated">
            <a:extLst>
              <a:ext uri="{FF2B5EF4-FFF2-40B4-BE49-F238E27FC236}">
                <a16:creationId xmlns:a16="http://schemas.microsoft.com/office/drawing/2014/main" id="{743D3AE2-28EE-45E0-AFD5-58FEAA4563BF}"/>
              </a:ext>
            </a:extLst>
          </p:cNvPr>
          <p:cNvPicPr>
            <a:picLocks noChangeAspect="1"/>
          </p:cNvPicPr>
          <p:nvPr/>
        </p:nvPicPr>
        <p:blipFill rotWithShape="1">
          <a:blip r:embed="rId8">
            <a:extLst>
              <a:ext uri="{BEBA8EAE-BF5A-486C-A8C5-ECC9F3942E4B}">
                <a14:imgProps xmlns:a14="http://schemas.microsoft.com/office/drawing/2010/main">
                  <a14:imgLayer r:embed="rId9">
                    <a14:imgEffect>
                      <a14:artisticBlur radius="60"/>
                    </a14:imgEffect>
                  </a14:imgLayer>
                </a14:imgProps>
              </a:ext>
              <a:ext uri="{28A0092B-C50C-407E-A947-70E740481C1C}">
                <a14:useLocalDpi xmlns:a14="http://schemas.microsoft.com/office/drawing/2010/main" val="0"/>
              </a:ext>
            </a:extLst>
          </a:blip>
          <a:srcRect l="10447" r="59045" b="51508"/>
          <a:stretch/>
        </p:blipFill>
        <p:spPr>
          <a:xfrm>
            <a:off x="6092021" y="0"/>
            <a:ext cx="3139065" cy="3325586"/>
          </a:xfrm>
          <a:prstGeom prst="roundRect">
            <a:avLst>
              <a:gd name="adj" fmla="val 50000"/>
            </a:avLst>
          </a:prstGeom>
        </p:spPr>
      </p:pic>
    </p:spTree>
    <p:extLst>
      <p:ext uri="{BB962C8B-B14F-4D97-AF65-F5344CB8AC3E}">
        <p14:creationId xmlns:p14="http://schemas.microsoft.com/office/powerpoint/2010/main" val="4043908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4"/>
                                        </p:tgtEl>
                                      </p:cBhvr>
                                    </p:animEffect>
                                    <p:set>
                                      <p:cBhvr>
                                        <p:cTn id="7" dur="1" fill="hold">
                                          <p:stCondLst>
                                            <p:cond delay="4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2B3CC6-86A5-4573-8ECF-8923C9AD8790}"/>
              </a:ext>
            </a:extLst>
          </p:cNvPr>
          <p:cNvGraphicFramePr>
            <a:graphicFrameLocks noChangeAspect="1"/>
          </p:cNvGraphicFramePr>
          <p:nvPr>
            <p:custDataLst>
              <p:tags r:id="rId2"/>
            </p:custDataLst>
            <p:extLst>
              <p:ext uri="{D42A27DB-BD31-4B8C-83A1-F6EECF244321}">
                <p14:modId xmlns:p14="http://schemas.microsoft.com/office/powerpoint/2010/main" val="1156826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7"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07577DD-3025-4E2D-A9B3-E1E56626AB3E}"/>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5400" dirty="0">
              <a:solidFill>
                <a:schemeClr val="bg1"/>
              </a:solidFill>
              <a:latin typeface="BebasNeueRegular" panose="020B0606020202050201" pitchFamily="34" charset="0"/>
              <a:cs typeface="Arial" panose="020B0604020202020204" pitchFamily="34" charset="0"/>
              <a:sym typeface="BebasNeueRegular" panose="020B0606020202050201" pitchFamily="34" charset="0"/>
            </a:endParaRPr>
          </a:p>
        </p:txBody>
      </p:sp>
      <p:sp>
        <p:nvSpPr>
          <p:cNvPr id="2" name="Title 1">
            <a:extLst>
              <a:ext uri="{FF2B5EF4-FFF2-40B4-BE49-F238E27FC236}">
                <a16:creationId xmlns:a16="http://schemas.microsoft.com/office/drawing/2014/main" id="{7D713051-171B-4A09-A118-5751D0504D55}"/>
              </a:ext>
            </a:extLst>
          </p:cNvPr>
          <p:cNvSpPr>
            <a:spLocks noGrp="1"/>
          </p:cNvSpPr>
          <p:nvPr>
            <p:ph type="title"/>
          </p:nvPr>
        </p:nvSpPr>
        <p:spPr/>
        <p:txBody>
          <a:bodyPr vert="horz">
            <a:normAutofit/>
          </a:bodyPr>
          <a:lstStyle/>
          <a:p>
            <a:r>
              <a:rPr lang="en-GB" sz="5400" dirty="0"/>
              <a:t>In the medium term, we need some 200,000 additional apartments</a:t>
            </a:r>
          </a:p>
        </p:txBody>
      </p:sp>
      <p:sp>
        <p:nvSpPr>
          <p:cNvPr id="3" name="Text Placeholder 2">
            <a:extLst>
              <a:ext uri="{FF2B5EF4-FFF2-40B4-BE49-F238E27FC236}">
                <a16:creationId xmlns:a16="http://schemas.microsoft.com/office/drawing/2014/main" id="{1D7409B4-9345-485C-B5CA-AEC03831C3E4}"/>
              </a:ext>
            </a:extLst>
          </p:cNvPr>
          <p:cNvSpPr>
            <a:spLocks noGrp="1"/>
          </p:cNvSpPr>
          <p:nvPr>
            <p:ph type="body" sz="quarter" idx="11"/>
          </p:nvPr>
        </p:nvSpPr>
        <p:spPr/>
        <p:txBody>
          <a:bodyPr/>
          <a:lstStyle/>
          <a:p>
            <a:r>
              <a:rPr lang="en-GB" dirty="0">
                <a:solidFill>
                  <a:srgbClr val="575757"/>
                </a:solidFill>
              </a:rPr>
              <a:t>Berlin Housing Senator Sebastian Scheel</a:t>
            </a:r>
          </a:p>
        </p:txBody>
      </p:sp>
    </p:spTree>
    <p:extLst>
      <p:ext uri="{BB962C8B-B14F-4D97-AF65-F5344CB8AC3E}">
        <p14:creationId xmlns:p14="http://schemas.microsoft.com/office/powerpoint/2010/main" val="31102991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1059561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3"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2" name="Title 1">
            <a:extLst>
              <a:ext uri="{FF2B5EF4-FFF2-40B4-BE49-F238E27FC236}">
                <a16:creationId xmlns:a16="http://schemas.microsoft.com/office/drawing/2014/main" id="{82EC1191-2DB2-44A5-8030-4321ABCDFDBB}"/>
              </a:ext>
            </a:extLst>
          </p:cNvPr>
          <p:cNvSpPr txBox="1">
            <a:spLocks/>
          </p:cNvSpPr>
          <p:nvPr/>
        </p:nvSpPr>
        <p:spPr>
          <a:xfrm>
            <a:off x="620364" y="632434"/>
            <a:ext cx="10917936" cy="807913"/>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r>
              <a:rPr lang="cs-CZ" sz="6000" dirty="0" err="1">
                <a:solidFill>
                  <a:srgbClr val="FFFFFF"/>
                </a:solidFill>
                <a:latin typeface="BebasNeueRegular" panose="020B0606020202050201" pitchFamily="34" charset="0"/>
              </a:rPr>
              <a:t>problem</a:t>
            </a:r>
            <a:endParaRPr lang="en-US" sz="6000" dirty="0">
              <a:solidFill>
                <a:srgbClr val="FFFFFF"/>
              </a:solidFill>
              <a:latin typeface="BebasNeueRegular" panose="020B0606020202050201" pitchFamily="34" charset="0"/>
            </a:endParaRPr>
          </a:p>
        </p:txBody>
      </p:sp>
      <p:sp>
        <p:nvSpPr>
          <p:cNvPr id="13" name="Title 2">
            <a:extLst>
              <a:ext uri="{FF2B5EF4-FFF2-40B4-BE49-F238E27FC236}">
                <a16:creationId xmlns:a16="http://schemas.microsoft.com/office/drawing/2014/main" id="{B94E76E8-62C2-4C51-9F03-1AAC0A07BDF1}"/>
              </a:ext>
            </a:extLst>
          </p:cNvPr>
          <p:cNvSpPr txBox="1">
            <a:spLocks/>
          </p:cNvSpPr>
          <p:nvPr/>
        </p:nvSpPr>
        <p:spPr>
          <a:xfrm>
            <a:off x="407368" y="4857457"/>
            <a:ext cx="5472608" cy="1354217"/>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cs-CZ" sz="4400" b="1" dirty="0" err="1">
                <a:solidFill>
                  <a:schemeClr val="tx2"/>
                </a:solidFill>
                <a:latin typeface="+mn-lt"/>
              </a:rPr>
              <a:t>When</a:t>
            </a:r>
            <a:r>
              <a:rPr lang="cs-CZ" sz="4400" b="1" dirty="0">
                <a:solidFill>
                  <a:schemeClr val="tx2"/>
                </a:solidFill>
                <a:latin typeface="+mn-lt"/>
              </a:rPr>
              <a:t> </a:t>
            </a:r>
            <a:r>
              <a:rPr lang="cs-CZ" sz="4400" b="1" dirty="0" err="1">
                <a:solidFill>
                  <a:schemeClr val="tx2"/>
                </a:solidFill>
                <a:latin typeface="+mn-lt"/>
              </a:rPr>
              <a:t>did</a:t>
            </a:r>
            <a:r>
              <a:rPr lang="cs-CZ" sz="4400" b="1" dirty="0">
                <a:solidFill>
                  <a:schemeClr val="tx2"/>
                </a:solidFill>
                <a:latin typeface="+mn-lt"/>
              </a:rPr>
              <a:t> Real </a:t>
            </a:r>
            <a:r>
              <a:rPr lang="cs-CZ" sz="4400" b="1" dirty="0" err="1">
                <a:solidFill>
                  <a:schemeClr val="tx2"/>
                </a:solidFill>
                <a:latin typeface="+mn-lt"/>
              </a:rPr>
              <a:t>Estate</a:t>
            </a:r>
            <a:r>
              <a:rPr lang="cs-CZ" sz="4400" b="1" dirty="0">
                <a:solidFill>
                  <a:schemeClr val="tx2"/>
                </a:solidFill>
                <a:latin typeface="+mn-lt"/>
              </a:rPr>
              <a:t>...</a:t>
            </a:r>
            <a:endParaRPr lang="en-US" sz="4400" b="1" dirty="0">
              <a:solidFill>
                <a:schemeClr val="tx2"/>
              </a:solidFill>
              <a:latin typeface="+mn-lt"/>
            </a:endParaRPr>
          </a:p>
        </p:txBody>
      </p:sp>
      <p:grpSp>
        <p:nvGrpSpPr>
          <p:cNvPr id="37" name="bcgIcons_City">
            <a:extLst>
              <a:ext uri="{FF2B5EF4-FFF2-40B4-BE49-F238E27FC236}">
                <a16:creationId xmlns:a16="http://schemas.microsoft.com/office/drawing/2014/main" id="{71A8A988-B754-4819-8340-E5B51F7C8B2B}"/>
              </a:ext>
            </a:extLst>
          </p:cNvPr>
          <p:cNvGrpSpPr>
            <a:grpSpLocks noChangeAspect="1"/>
          </p:cNvGrpSpPr>
          <p:nvPr/>
        </p:nvGrpSpPr>
        <p:grpSpPr bwMode="auto">
          <a:xfrm>
            <a:off x="1847528" y="1988840"/>
            <a:ext cx="2293784" cy="2388243"/>
            <a:chOff x="2126" y="311"/>
            <a:chExt cx="3424" cy="3565"/>
          </a:xfrm>
          <a:solidFill>
            <a:schemeClr val="tx2"/>
          </a:solidFill>
        </p:grpSpPr>
        <p:sp>
          <p:nvSpPr>
            <p:cNvPr id="39" name="Freeform 5">
              <a:extLst>
                <a:ext uri="{FF2B5EF4-FFF2-40B4-BE49-F238E27FC236}">
                  <a16:creationId xmlns:a16="http://schemas.microsoft.com/office/drawing/2014/main" id="{420EE325-C88E-495D-A706-B62CF8A9B75E}"/>
                </a:ext>
              </a:extLst>
            </p:cNvPr>
            <p:cNvSpPr>
              <a:spLocks noEditPoints="1"/>
            </p:cNvSpPr>
            <p:nvPr/>
          </p:nvSpPr>
          <p:spPr bwMode="auto">
            <a:xfrm>
              <a:off x="2549" y="945"/>
              <a:ext cx="2859" cy="2766"/>
            </a:xfrm>
            <a:custGeom>
              <a:avLst/>
              <a:gdLst>
                <a:gd name="T0" fmla="*/ 1370 w 1526"/>
                <a:gd name="T1" fmla="*/ 830 h 1475"/>
                <a:gd name="T2" fmla="*/ 1224 w 1526"/>
                <a:gd name="T3" fmla="*/ 942 h 1475"/>
                <a:gd name="T4" fmla="*/ 123 w 1526"/>
                <a:gd name="T5" fmla="*/ 1012 h 1475"/>
                <a:gd name="T6" fmla="*/ 1138 w 1526"/>
                <a:gd name="T7" fmla="*/ 112 h 1475"/>
                <a:gd name="T8" fmla="*/ 991 w 1526"/>
                <a:gd name="T9" fmla="*/ 0 h 1475"/>
                <a:gd name="T10" fmla="*/ 1224 w 1526"/>
                <a:gd name="T11" fmla="*/ 112 h 1475"/>
                <a:gd name="T12" fmla="*/ 1370 w 1526"/>
                <a:gd name="T13" fmla="*/ 0 h 1475"/>
                <a:gd name="T14" fmla="*/ 1224 w 1526"/>
                <a:gd name="T15" fmla="*/ 112 h 1475"/>
                <a:gd name="T16" fmla="*/ 451 w 1526"/>
                <a:gd name="T17" fmla="*/ 157 h 1475"/>
                <a:gd name="T18" fmla="*/ 381 w 1526"/>
                <a:gd name="T19" fmla="*/ 249 h 1475"/>
                <a:gd name="T20" fmla="*/ 578 w 1526"/>
                <a:gd name="T21" fmla="*/ 249 h 1475"/>
                <a:gd name="T22" fmla="*/ 508 w 1526"/>
                <a:gd name="T23" fmla="*/ 157 h 1475"/>
                <a:gd name="T24" fmla="*/ 441 w 1526"/>
                <a:gd name="T25" fmla="*/ 457 h 1475"/>
                <a:gd name="T26" fmla="*/ 391 w 1526"/>
                <a:gd name="T27" fmla="*/ 345 h 1475"/>
                <a:gd name="T28" fmla="*/ 518 w 1526"/>
                <a:gd name="T29" fmla="*/ 457 h 1475"/>
                <a:gd name="T30" fmla="*/ 568 w 1526"/>
                <a:gd name="T31" fmla="*/ 345 h 1475"/>
                <a:gd name="T32" fmla="*/ 518 w 1526"/>
                <a:gd name="T33" fmla="*/ 457 h 1475"/>
                <a:gd name="T34" fmla="*/ 451 w 1526"/>
                <a:gd name="T35" fmla="*/ 554 h 1475"/>
                <a:gd name="T36" fmla="*/ 381 w 1526"/>
                <a:gd name="T37" fmla="*/ 646 h 1475"/>
                <a:gd name="T38" fmla="*/ 578 w 1526"/>
                <a:gd name="T39" fmla="*/ 646 h 1475"/>
                <a:gd name="T40" fmla="*/ 508 w 1526"/>
                <a:gd name="T41" fmla="*/ 554 h 1475"/>
                <a:gd name="T42" fmla="*/ 441 w 1526"/>
                <a:gd name="T43" fmla="*/ 854 h 1475"/>
                <a:gd name="T44" fmla="*/ 391 w 1526"/>
                <a:gd name="T45" fmla="*/ 742 h 1475"/>
                <a:gd name="T46" fmla="*/ 518 w 1526"/>
                <a:gd name="T47" fmla="*/ 854 h 1475"/>
                <a:gd name="T48" fmla="*/ 568 w 1526"/>
                <a:gd name="T49" fmla="*/ 742 h 1475"/>
                <a:gd name="T50" fmla="*/ 518 w 1526"/>
                <a:gd name="T51" fmla="*/ 854 h 1475"/>
                <a:gd name="T52" fmla="*/ 324 w 1526"/>
                <a:gd name="T53" fmla="*/ 752 h 1475"/>
                <a:gd name="T54" fmla="*/ 254 w 1526"/>
                <a:gd name="T55" fmla="*/ 844 h 1475"/>
                <a:gd name="T56" fmla="*/ 197 w 1526"/>
                <a:gd name="T57" fmla="*/ 844 h 1475"/>
                <a:gd name="T58" fmla="*/ 127 w 1526"/>
                <a:gd name="T59" fmla="*/ 752 h 1475"/>
                <a:gd name="T60" fmla="*/ 314 w 1526"/>
                <a:gd name="T61" fmla="*/ 656 h 1475"/>
                <a:gd name="T62" fmla="*/ 264 w 1526"/>
                <a:gd name="T63" fmla="*/ 544 h 1475"/>
                <a:gd name="T64" fmla="*/ 264 w 1526"/>
                <a:gd name="T65" fmla="*/ 457 h 1475"/>
                <a:gd name="T66" fmla="*/ 314 w 1526"/>
                <a:gd name="T67" fmla="*/ 345 h 1475"/>
                <a:gd name="T68" fmla="*/ 264 w 1526"/>
                <a:gd name="T69" fmla="*/ 457 h 1475"/>
                <a:gd name="T70" fmla="*/ 197 w 1526"/>
                <a:gd name="T71" fmla="*/ 554 h 1475"/>
                <a:gd name="T72" fmla="*/ 127 w 1526"/>
                <a:gd name="T73" fmla="*/ 646 h 1475"/>
                <a:gd name="T74" fmla="*/ 70 w 1526"/>
                <a:gd name="T75" fmla="*/ 844 h 1475"/>
                <a:gd name="T76" fmla="*/ 0 w 1526"/>
                <a:gd name="T77" fmla="*/ 752 h 1475"/>
                <a:gd name="T78" fmla="*/ 1138 w 1526"/>
                <a:gd name="T79" fmla="*/ 278 h 1475"/>
                <a:gd name="T80" fmla="*/ 991 w 1526"/>
                <a:gd name="T81" fmla="*/ 166 h 1475"/>
                <a:gd name="T82" fmla="*/ 1224 w 1526"/>
                <a:gd name="T83" fmla="*/ 278 h 1475"/>
                <a:gd name="T84" fmla="*/ 1370 w 1526"/>
                <a:gd name="T85" fmla="*/ 166 h 1475"/>
                <a:gd name="T86" fmla="*/ 1224 w 1526"/>
                <a:gd name="T87" fmla="*/ 278 h 1475"/>
                <a:gd name="T88" fmla="*/ 1148 w 1526"/>
                <a:gd name="T89" fmla="*/ 342 h 1475"/>
                <a:gd name="T90" fmla="*/ 981 w 1526"/>
                <a:gd name="T91" fmla="*/ 434 h 1475"/>
                <a:gd name="T92" fmla="*/ 1380 w 1526"/>
                <a:gd name="T93" fmla="*/ 434 h 1475"/>
                <a:gd name="T94" fmla="*/ 1214 w 1526"/>
                <a:gd name="T95" fmla="*/ 342 h 1475"/>
                <a:gd name="T96" fmla="*/ 1138 w 1526"/>
                <a:gd name="T97" fmla="*/ 610 h 1475"/>
                <a:gd name="T98" fmla="*/ 991 w 1526"/>
                <a:gd name="T99" fmla="*/ 498 h 1475"/>
                <a:gd name="T100" fmla="*/ 1224 w 1526"/>
                <a:gd name="T101" fmla="*/ 610 h 1475"/>
                <a:gd name="T102" fmla="*/ 1370 w 1526"/>
                <a:gd name="T103" fmla="*/ 498 h 1475"/>
                <a:gd name="T104" fmla="*/ 1224 w 1526"/>
                <a:gd name="T105" fmla="*/ 610 h 1475"/>
                <a:gd name="T106" fmla="*/ 1148 w 1526"/>
                <a:gd name="T107" fmla="*/ 674 h 1475"/>
                <a:gd name="T108" fmla="*/ 981 w 1526"/>
                <a:gd name="T109" fmla="*/ 766 h 1475"/>
                <a:gd name="T110" fmla="*/ 1380 w 1526"/>
                <a:gd name="T111" fmla="*/ 766 h 1475"/>
                <a:gd name="T112" fmla="*/ 1214 w 1526"/>
                <a:gd name="T113" fmla="*/ 674 h 1475"/>
                <a:gd name="T114" fmla="*/ 1148 w 1526"/>
                <a:gd name="T115" fmla="*/ 840 h 1475"/>
                <a:gd name="T116" fmla="*/ 981 w 1526"/>
                <a:gd name="T117" fmla="*/ 879 h 1475"/>
                <a:gd name="T118" fmla="*/ 1363 w 1526"/>
                <a:gd name="T119" fmla="*/ 1012 h 1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26" h="1475">
                  <a:moveTo>
                    <a:pt x="1214" y="932"/>
                  </a:moveTo>
                  <a:cubicBezTo>
                    <a:pt x="1214" y="840"/>
                    <a:pt x="1214" y="840"/>
                    <a:pt x="1214" y="840"/>
                  </a:cubicBezTo>
                  <a:cubicBezTo>
                    <a:pt x="1214" y="835"/>
                    <a:pt x="1218" y="830"/>
                    <a:pt x="1224" y="830"/>
                  </a:cubicBezTo>
                  <a:cubicBezTo>
                    <a:pt x="1370" y="830"/>
                    <a:pt x="1370" y="830"/>
                    <a:pt x="1370" y="830"/>
                  </a:cubicBezTo>
                  <a:cubicBezTo>
                    <a:pt x="1376" y="830"/>
                    <a:pt x="1380" y="835"/>
                    <a:pt x="1380" y="840"/>
                  </a:cubicBezTo>
                  <a:cubicBezTo>
                    <a:pt x="1380" y="932"/>
                    <a:pt x="1380" y="932"/>
                    <a:pt x="1380" y="932"/>
                  </a:cubicBezTo>
                  <a:cubicBezTo>
                    <a:pt x="1380" y="938"/>
                    <a:pt x="1376" y="942"/>
                    <a:pt x="1370" y="942"/>
                  </a:cubicBezTo>
                  <a:cubicBezTo>
                    <a:pt x="1224" y="942"/>
                    <a:pt x="1224" y="942"/>
                    <a:pt x="1224" y="942"/>
                  </a:cubicBezTo>
                  <a:cubicBezTo>
                    <a:pt x="1218" y="942"/>
                    <a:pt x="1214" y="938"/>
                    <a:pt x="1214" y="932"/>
                  </a:cubicBezTo>
                  <a:close/>
                  <a:moveTo>
                    <a:pt x="286" y="1475"/>
                  </a:moveTo>
                  <a:cubicBezTo>
                    <a:pt x="240" y="1012"/>
                    <a:pt x="240" y="1012"/>
                    <a:pt x="240" y="1012"/>
                  </a:cubicBezTo>
                  <a:cubicBezTo>
                    <a:pt x="123" y="1012"/>
                    <a:pt x="123" y="1012"/>
                    <a:pt x="123" y="1012"/>
                  </a:cubicBezTo>
                  <a:cubicBezTo>
                    <a:pt x="77" y="1475"/>
                    <a:pt x="77" y="1475"/>
                    <a:pt x="77" y="1475"/>
                  </a:cubicBezTo>
                  <a:lnTo>
                    <a:pt x="286" y="1475"/>
                  </a:lnTo>
                  <a:close/>
                  <a:moveTo>
                    <a:pt x="991" y="112"/>
                  </a:moveTo>
                  <a:cubicBezTo>
                    <a:pt x="1138" y="112"/>
                    <a:pt x="1138" y="112"/>
                    <a:pt x="1138" y="112"/>
                  </a:cubicBezTo>
                  <a:cubicBezTo>
                    <a:pt x="1143" y="112"/>
                    <a:pt x="1148" y="108"/>
                    <a:pt x="1148" y="102"/>
                  </a:cubicBezTo>
                  <a:cubicBezTo>
                    <a:pt x="1148" y="10"/>
                    <a:pt x="1148" y="10"/>
                    <a:pt x="1148" y="10"/>
                  </a:cubicBezTo>
                  <a:cubicBezTo>
                    <a:pt x="1148" y="5"/>
                    <a:pt x="1143" y="0"/>
                    <a:pt x="1138" y="0"/>
                  </a:cubicBezTo>
                  <a:cubicBezTo>
                    <a:pt x="991" y="0"/>
                    <a:pt x="991" y="0"/>
                    <a:pt x="991" y="0"/>
                  </a:cubicBezTo>
                  <a:cubicBezTo>
                    <a:pt x="985" y="0"/>
                    <a:pt x="981" y="5"/>
                    <a:pt x="981" y="10"/>
                  </a:cubicBezTo>
                  <a:cubicBezTo>
                    <a:pt x="981" y="102"/>
                    <a:pt x="981" y="102"/>
                    <a:pt x="981" y="102"/>
                  </a:cubicBezTo>
                  <a:cubicBezTo>
                    <a:pt x="981" y="108"/>
                    <a:pt x="985" y="112"/>
                    <a:pt x="991" y="112"/>
                  </a:cubicBezTo>
                  <a:close/>
                  <a:moveTo>
                    <a:pt x="1224" y="112"/>
                  </a:moveTo>
                  <a:cubicBezTo>
                    <a:pt x="1370" y="112"/>
                    <a:pt x="1370" y="112"/>
                    <a:pt x="1370" y="112"/>
                  </a:cubicBezTo>
                  <a:cubicBezTo>
                    <a:pt x="1376" y="112"/>
                    <a:pt x="1380" y="108"/>
                    <a:pt x="1380" y="102"/>
                  </a:cubicBezTo>
                  <a:cubicBezTo>
                    <a:pt x="1380" y="10"/>
                    <a:pt x="1380" y="10"/>
                    <a:pt x="1380" y="10"/>
                  </a:cubicBezTo>
                  <a:cubicBezTo>
                    <a:pt x="1380" y="5"/>
                    <a:pt x="1376" y="0"/>
                    <a:pt x="1370" y="0"/>
                  </a:cubicBezTo>
                  <a:cubicBezTo>
                    <a:pt x="1224" y="0"/>
                    <a:pt x="1224" y="0"/>
                    <a:pt x="1224" y="0"/>
                  </a:cubicBezTo>
                  <a:cubicBezTo>
                    <a:pt x="1218" y="0"/>
                    <a:pt x="1214" y="5"/>
                    <a:pt x="1214" y="10"/>
                  </a:cubicBezTo>
                  <a:cubicBezTo>
                    <a:pt x="1214" y="102"/>
                    <a:pt x="1214" y="102"/>
                    <a:pt x="1214" y="102"/>
                  </a:cubicBezTo>
                  <a:cubicBezTo>
                    <a:pt x="1214" y="108"/>
                    <a:pt x="1218" y="112"/>
                    <a:pt x="1224" y="112"/>
                  </a:cubicBezTo>
                  <a:close/>
                  <a:moveTo>
                    <a:pt x="391" y="259"/>
                  </a:moveTo>
                  <a:cubicBezTo>
                    <a:pt x="441" y="259"/>
                    <a:pt x="441" y="259"/>
                    <a:pt x="441" y="259"/>
                  </a:cubicBezTo>
                  <a:cubicBezTo>
                    <a:pt x="447" y="259"/>
                    <a:pt x="451" y="254"/>
                    <a:pt x="451" y="249"/>
                  </a:cubicBezTo>
                  <a:cubicBezTo>
                    <a:pt x="451" y="157"/>
                    <a:pt x="451" y="157"/>
                    <a:pt x="451" y="157"/>
                  </a:cubicBezTo>
                  <a:cubicBezTo>
                    <a:pt x="451" y="151"/>
                    <a:pt x="447" y="147"/>
                    <a:pt x="441" y="147"/>
                  </a:cubicBezTo>
                  <a:cubicBezTo>
                    <a:pt x="391" y="147"/>
                    <a:pt x="391" y="147"/>
                    <a:pt x="391" y="147"/>
                  </a:cubicBezTo>
                  <a:cubicBezTo>
                    <a:pt x="386" y="147"/>
                    <a:pt x="381" y="151"/>
                    <a:pt x="381" y="157"/>
                  </a:cubicBezTo>
                  <a:cubicBezTo>
                    <a:pt x="381" y="249"/>
                    <a:pt x="381" y="249"/>
                    <a:pt x="381" y="249"/>
                  </a:cubicBezTo>
                  <a:cubicBezTo>
                    <a:pt x="381" y="254"/>
                    <a:pt x="386" y="259"/>
                    <a:pt x="391" y="259"/>
                  </a:cubicBezTo>
                  <a:close/>
                  <a:moveTo>
                    <a:pt x="518" y="259"/>
                  </a:moveTo>
                  <a:cubicBezTo>
                    <a:pt x="568" y="259"/>
                    <a:pt x="568" y="259"/>
                    <a:pt x="568" y="259"/>
                  </a:cubicBezTo>
                  <a:cubicBezTo>
                    <a:pt x="574" y="259"/>
                    <a:pt x="578" y="254"/>
                    <a:pt x="578" y="249"/>
                  </a:cubicBezTo>
                  <a:cubicBezTo>
                    <a:pt x="578" y="157"/>
                    <a:pt x="578" y="157"/>
                    <a:pt x="578" y="157"/>
                  </a:cubicBezTo>
                  <a:cubicBezTo>
                    <a:pt x="578" y="151"/>
                    <a:pt x="574" y="147"/>
                    <a:pt x="568" y="147"/>
                  </a:cubicBezTo>
                  <a:cubicBezTo>
                    <a:pt x="518" y="147"/>
                    <a:pt x="518" y="147"/>
                    <a:pt x="518" y="147"/>
                  </a:cubicBezTo>
                  <a:cubicBezTo>
                    <a:pt x="513" y="147"/>
                    <a:pt x="508" y="151"/>
                    <a:pt x="508" y="157"/>
                  </a:cubicBezTo>
                  <a:cubicBezTo>
                    <a:pt x="508" y="249"/>
                    <a:pt x="508" y="249"/>
                    <a:pt x="508" y="249"/>
                  </a:cubicBezTo>
                  <a:cubicBezTo>
                    <a:pt x="508" y="254"/>
                    <a:pt x="513" y="259"/>
                    <a:pt x="518" y="259"/>
                  </a:cubicBezTo>
                  <a:close/>
                  <a:moveTo>
                    <a:pt x="391" y="457"/>
                  </a:moveTo>
                  <a:cubicBezTo>
                    <a:pt x="441" y="457"/>
                    <a:pt x="441" y="457"/>
                    <a:pt x="441" y="457"/>
                  </a:cubicBezTo>
                  <a:cubicBezTo>
                    <a:pt x="447" y="457"/>
                    <a:pt x="451" y="453"/>
                    <a:pt x="451" y="447"/>
                  </a:cubicBezTo>
                  <a:cubicBezTo>
                    <a:pt x="451" y="355"/>
                    <a:pt x="451" y="355"/>
                    <a:pt x="451" y="355"/>
                  </a:cubicBezTo>
                  <a:cubicBezTo>
                    <a:pt x="451" y="350"/>
                    <a:pt x="447" y="345"/>
                    <a:pt x="441" y="345"/>
                  </a:cubicBezTo>
                  <a:cubicBezTo>
                    <a:pt x="391" y="345"/>
                    <a:pt x="391" y="345"/>
                    <a:pt x="391" y="345"/>
                  </a:cubicBezTo>
                  <a:cubicBezTo>
                    <a:pt x="386" y="345"/>
                    <a:pt x="381" y="350"/>
                    <a:pt x="381" y="355"/>
                  </a:cubicBezTo>
                  <a:cubicBezTo>
                    <a:pt x="381" y="447"/>
                    <a:pt x="381" y="447"/>
                    <a:pt x="381" y="447"/>
                  </a:cubicBezTo>
                  <a:cubicBezTo>
                    <a:pt x="381" y="453"/>
                    <a:pt x="386" y="457"/>
                    <a:pt x="391" y="457"/>
                  </a:cubicBezTo>
                  <a:close/>
                  <a:moveTo>
                    <a:pt x="518" y="457"/>
                  </a:moveTo>
                  <a:cubicBezTo>
                    <a:pt x="568" y="457"/>
                    <a:pt x="568" y="457"/>
                    <a:pt x="568" y="457"/>
                  </a:cubicBezTo>
                  <a:cubicBezTo>
                    <a:pt x="574" y="457"/>
                    <a:pt x="578" y="453"/>
                    <a:pt x="578" y="447"/>
                  </a:cubicBezTo>
                  <a:cubicBezTo>
                    <a:pt x="578" y="355"/>
                    <a:pt x="578" y="355"/>
                    <a:pt x="578" y="355"/>
                  </a:cubicBezTo>
                  <a:cubicBezTo>
                    <a:pt x="578" y="350"/>
                    <a:pt x="574" y="345"/>
                    <a:pt x="568" y="345"/>
                  </a:cubicBezTo>
                  <a:cubicBezTo>
                    <a:pt x="518" y="345"/>
                    <a:pt x="518" y="345"/>
                    <a:pt x="518" y="345"/>
                  </a:cubicBezTo>
                  <a:cubicBezTo>
                    <a:pt x="513" y="345"/>
                    <a:pt x="508" y="350"/>
                    <a:pt x="508" y="355"/>
                  </a:cubicBezTo>
                  <a:cubicBezTo>
                    <a:pt x="508" y="447"/>
                    <a:pt x="508" y="447"/>
                    <a:pt x="508" y="447"/>
                  </a:cubicBezTo>
                  <a:cubicBezTo>
                    <a:pt x="508" y="453"/>
                    <a:pt x="513" y="457"/>
                    <a:pt x="518" y="457"/>
                  </a:cubicBezTo>
                  <a:close/>
                  <a:moveTo>
                    <a:pt x="391" y="656"/>
                  </a:moveTo>
                  <a:cubicBezTo>
                    <a:pt x="441" y="656"/>
                    <a:pt x="441" y="656"/>
                    <a:pt x="441" y="656"/>
                  </a:cubicBezTo>
                  <a:cubicBezTo>
                    <a:pt x="447" y="656"/>
                    <a:pt x="451" y="651"/>
                    <a:pt x="451" y="646"/>
                  </a:cubicBezTo>
                  <a:cubicBezTo>
                    <a:pt x="451" y="554"/>
                    <a:pt x="451" y="554"/>
                    <a:pt x="451" y="554"/>
                  </a:cubicBezTo>
                  <a:cubicBezTo>
                    <a:pt x="451" y="548"/>
                    <a:pt x="447" y="544"/>
                    <a:pt x="441" y="544"/>
                  </a:cubicBezTo>
                  <a:cubicBezTo>
                    <a:pt x="391" y="544"/>
                    <a:pt x="391" y="544"/>
                    <a:pt x="391" y="544"/>
                  </a:cubicBezTo>
                  <a:cubicBezTo>
                    <a:pt x="386" y="544"/>
                    <a:pt x="381" y="548"/>
                    <a:pt x="381" y="554"/>
                  </a:cubicBezTo>
                  <a:cubicBezTo>
                    <a:pt x="381" y="646"/>
                    <a:pt x="381" y="646"/>
                    <a:pt x="381" y="646"/>
                  </a:cubicBezTo>
                  <a:cubicBezTo>
                    <a:pt x="381" y="651"/>
                    <a:pt x="386" y="656"/>
                    <a:pt x="391" y="656"/>
                  </a:cubicBezTo>
                  <a:close/>
                  <a:moveTo>
                    <a:pt x="518" y="656"/>
                  </a:moveTo>
                  <a:cubicBezTo>
                    <a:pt x="568" y="656"/>
                    <a:pt x="568" y="656"/>
                    <a:pt x="568" y="656"/>
                  </a:cubicBezTo>
                  <a:cubicBezTo>
                    <a:pt x="574" y="656"/>
                    <a:pt x="578" y="651"/>
                    <a:pt x="578" y="646"/>
                  </a:cubicBezTo>
                  <a:cubicBezTo>
                    <a:pt x="578" y="554"/>
                    <a:pt x="578" y="554"/>
                    <a:pt x="578" y="554"/>
                  </a:cubicBezTo>
                  <a:cubicBezTo>
                    <a:pt x="578" y="548"/>
                    <a:pt x="574" y="544"/>
                    <a:pt x="568" y="544"/>
                  </a:cubicBezTo>
                  <a:cubicBezTo>
                    <a:pt x="518" y="544"/>
                    <a:pt x="518" y="544"/>
                    <a:pt x="518" y="544"/>
                  </a:cubicBezTo>
                  <a:cubicBezTo>
                    <a:pt x="513" y="544"/>
                    <a:pt x="508" y="548"/>
                    <a:pt x="508" y="554"/>
                  </a:cubicBezTo>
                  <a:cubicBezTo>
                    <a:pt x="508" y="646"/>
                    <a:pt x="508" y="646"/>
                    <a:pt x="508" y="646"/>
                  </a:cubicBezTo>
                  <a:cubicBezTo>
                    <a:pt x="508" y="651"/>
                    <a:pt x="513" y="656"/>
                    <a:pt x="518" y="656"/>
                  </a:cubicBezTo>
                  <a:close/>
                  <a:moveTo>
                    <a:pt x="391" y="854"/>
                  </a:moveTo>
                  <a:cubicBezTo>
                    <a:pt x="441" y="854"/>
                    <a:pt x="441" y="854"/>
                    <a:pt x="441" y="854"/>
                  </a:cubicBezTo>
                  <a:cubicBezTo>
                    <a:pt x="447" y="854"/>
                    <a:pt x="451" y="850"/>
                    <a:pt x="451" y="844"/>
                  </a:cubicBezTo>
                  <a:cubicBezTo>
                    <a:pt x="451" y="752"/>
                    <a:pt x="451" y="752"/>
                    <a:pt x="451" y="752"/>
                  </a:cubicBezTo>
                  <a:cubicBezTo>
                    <a:pt x="451" y="747"/>
                    <a:pt x="447" y="742"/>
                    <a:pt x="441" y="742"/>
                  </a:cubicBezTo>
                  <a:cubicBezTo>
                    <a:pt x="391" y="742"/>
                    <a:pt x="391" y="742"/>
                    <a:pt x="391" y="742"/>
                  </a:cubicBezTo>
                  <a:cubicBezTo>
                    <a:pt x="386" y="742"/>
                    <a:pt x="381" y="747"/>
                    <a:pt x="381" y="752"/>
                  </a:cubicBezTo>
                  <a:cubicBezTo>
                    <a:pt x="381" y="844"/>
                    <a:pt x="381" y="844"/>
                    <a:pt x="381" y="844"/>
                  </a:cubicBezTo>
                  <a:cubicBezTo>
                    <a:pt x="381" y="850"/>
                    <a:pt x="386" y="854"/>
                    <a:pt x="391" y="854"/>
                  </a:cubicBezTo>
                  <a:close/>
                  <a:moveTo>
                    <a:pt x="518" y="854"/>
                  </a:moveTo>
                  <a:cubicBezTo>
                    <a:pt x="568" y="854"/>
                    <a:pt x="568" y="854"/>
                    <a:pt x="568" y="854"/>
                  </a:cubicBezTo>
                  <a:cubicBezTo>
                    <a:pt x="574" y="854"/>
                    <a:pt x="578" y="850"/>
                    <a:pt x="578" y="844"/>
                  </a:cubicBezTo>
                  <a:cubicBezTo>
                    <a:pt x="578" y="752"/>
                    <a:pt x="578" y="752"/>
                    <a:pt x="578" y="752"/>
                  </a:cubicBezTo>
                  <a:cubicBezTo>
                    <a:pt x="578" y="747"/>
                    <a:pt x="574" y="742"/>
                    <a:pt x="568" y="742"/>
                  </a:cubicBezTo>
                  <a:cubicBezTo>
                    <a:pt x="518" y="742"/>
                    <a:pt x="518" y="742"/>
                    <a:pt x="518" y="742"/>
                  </a:cubicBezTo>
                  <a:cubicBezTo>
                    <a:pt x="513" y="742"/>
                    <a:pt x="508" y="747"/>
                    <a:pt x="508" y="752"/>
                  </a:cubicBezTo>
                  <a:cubicBezTo>
                    <a:pt x="508" y="844"/>
                    <a:pt x="508" y="844"/>
                    <a:pt x="508" y="844"/>
                  </a:cubicBezTo>
                  <a:cubicBezTo>
                    <a:pt x="508" y="850"/>
                    <a:pt x="513" y="854"/>
                    <a:pt x="518" y="854"/>
                  </a:cubicBezTo>
                  <a:close/>
                  <a:moveTo>
                    <a:pt x="264" y="854"/>
                  </a:moveTo>
                  <a:cubicBezTo>
                    <a:pt x="314" y="854"/>
                    <a:pt x="314" y="854"/>
                    <a:pt x="314" y="854"/>
                  </a:cubicBezTo>
                  <a:cubicBezTo>
                    <a:pt x="320" y="854"/>
                    <a:pt x="324" y="850"/>
                    <a:pt x="324" y="844"/>
                  </a:cubicBezTo>
                  <a:cubicBezTo>
                    <a:pt x="324" y="752"/>
                    <a:pt x="324" y="752"/>
                    <a:pt x="324" y="752"/>
                  </a:cubicBezTo>
                  <a:cubicBezTo>
                    <a:pt x="324" y="747"/>
                    <a:pt x="320" y="742"/>
                    <a:pt x="314" y="742"/>
                  </a:cubicBezTo>
                  <a:cubicBezTo>
                    <a:pt x="264" y="742"/>
                    <a:pt x="264" y="742"/>
                    <a:pt x="264" y="742"/>
                  </a:cubicBezTo>
                  <a:cubicBezTo>
                    <a:pt x="259" y="742"/>
                    <a:pt x="254" y="747"/>
                    <a:pt x="254" y="752"/>
                  </a:cubicBezTo>
                  <a:cubicBezTo>
                    <a:pt x="254" y="844"/>
                    <a:pt x="254" y="844"/>
                    <a:pt x="254" y="844"/>
                  </a:cubicBezTo>
                  <a:cubicBezTo>
                    <a:pt x="254" y="850"/>
                    <a:pt x="259" y="854"/>
                    <a:pt x="264" y="854"/>
                  </a:cubicBezTo>
                  <a:close/>
                  <a:moveTo>
                    <a:pt x="137" y="854"/>
                  </a:moveTo>
                  <a:cubicBezTo>
                    <a:pt x="187" y="854"/>
                    <a:pt x="187" y="854"/>
                    <a:pt x="187" y="854"/>
                  </a:cubicBezTo>
                  <a:cubicBezTo>
                    <a:pt x="193" y="854"/>
                    <a:pt x="197" y="850"/>
                    <a:pt x="197" y="844"/>
                  </a:cubicBezTo>
                  <a:cubicBezTo>
                    <a:pt x="197" y="752"/>
                    <a:pt x="197" y="752"/>
                    <a:pt x="197" y="752"/>
                  </a:cubicBezTo>
                  <a:cubicBezTo>
                    <a:pt x="197" y="747"/>
                    <a:pt x="193" y="742"/>
                    <a:pt x="187" y="742"/>
                  </a:cubicBezTo>
                  <a:cubicBezTo>
                    <a:pt x="137" y="742"/>
                    <a:pt x="137" y="742"/>
                    <a:pt x="137" y="742"/>
                  </a:cubicBezTo>
                  <a:cubicBezTo>
                    <a:pt x="132" y="742"/>
                    <a:pt x="127" y="747"/>
                    <a:pt x="127" y="752"/>
                  </a:cubicBezTo>
                  <a:cubicBezTo>
                    <a:pt x="127" y="844"/>
                    <a:pt x="127" y="844"/>
                    <a:pt x="127" y="844"/>
                  </a:cubicBezTo>
                  <a:cubicBezTo>
                    <a:pt x="127" y="850"/>
                    <a:pt x="132" y="854"/>
                    <a:pt x="137" y="854"/>
                  </a:cubicBezTo>
                  <a:close/>
                  <a:moveTo>
                    <a:pt x="264" y="656"/>
                  </a:moveTo>
                  <a:cubicBezTo>
                    <a:pt x="314" y="656"/>
                    <a:pt x="314" y="656"/>
                    <a:pt x="314" y="656"/>
                  </a:cubicBezTo>
                  <a:cubicBezTo>
                    <a:pt x="320" y="656"/>
                    <a:pt x="324" y="651"/>
                    <a:pt x="324" y="646"/>
                  </a:cubicBezTo>
                  <a:cubicBezTo>
                    <a:pt x="324" y="554"/>
                    <a:pt x="324" y="554"/>
                    <a:pt x="324" y="554"/>
                  </a:cubicBezTo>
                  <a:cubicBezTo>
                    <a:pt x="324" y="548"/>
                    <a:pt x="320" y="544"/>
                    <a:pt x="314" y="544"/>
                  </a:cubicBezTo>
                  <a:cubicBezTo>
                    <a:pt x="264" y="544"/>
                    <a:pt x="264" y="544"/>
                    <a:pt x="264" y="544"/>
                  </a:cubicBezTo>
                  <a:cubicBezTo>
                    <a:pt x="259" y="544"/>
                    <a:pt x="254" y="548"/>
                    <a:pt x="254" y="554"/>
                  </a:cubicBezTo>
                  <a:cubicBezTo>
                    <a:pt x="254" y="646"/>
                    <a:pt x="254" y="646"/>
                    <a:pt x="254" y="646"/>
                  </a:cubicBezTo>
                  <a:cubicBezTo>
                    <a:pt x="254" y="651"/>
                    <a:pt x="259" y="656"/>
                    <a:pt x="264" y="656"/>
                  </a:cubicBezTo>
                  <a:close/>
                  <a:moveTo>
                    <a:pt x="264" y="457"/>
                  </a:moveTo>
                  <a:cubicBezTo>
                    <a:pt x="314" y="457"/>
                    <a:pt x="314" y="457"/>
                    <a:pt x="314" y="457"/>
                  </a:cubicBezTo>
                  <a:cubicBezTo>
                    <a:pt x="320" y="457"/>
                    <a:pt x="324" y="453"/>
                    <a:pt x="324" y="447"/>
                  </a:cubicBezTo>
                  <a:cubicBezTo>
                    <a:pt x="324" y="355"/>
                    <a:pt x="324" y="355"/>
                    <a:pt x="324" y="355"/>
                  </a:cubicBezTo>
                  <a:cubicBezTo>
                    <a:pt x="324" y="350"/>
                    <a:pt x="320" y="345"/>
                    <a:pt x="314" y="345"/>
                  </a:cubicBezTo>
                  <a:cubicBezTo>
                    <a:pt x="264" y="345"/>
                    <a:pt x="264" y="345"/>
                    <a:pt x="264" y="345"/>
                  </a:cubicBezTo>
                  <a:cubicBezTo>
                    <a:pt x="259" y="345"/>
                    <a:pt x="254" y="350"/>
                    <a:pt x="254" y="355"/>
                  </a:cubicBezTo>
                  <a:cubicBezTo>
                    <a:pt x="254" y="447"/>
                    <a:pt x="254" y="447"/>
                    <a:pt x="254" y="447"/>
                  </a:cubicBezTo>
                  <a:cubicBezTo>
                    <a:pt x="254" y="453"/>
                    <a:pt x="259" y="457"/>
                    <a:pt x="264" y="457"/>
                  </a:cubicBezTo>
                  <a:close/>
                  <a:moveTo>
                    <a:pt x="137" y="656"/>
                  </a:moveTo>
                  <a:cubicBezTo>
                    <a:pt x="187" y="656"/>
                    <a:pt x="187" y="656"/>
                    <a:pt x="187" y="656"/>
                  </a:cubicBezTo>
                  <a:cubicBezTo>
                    <a:pt x="193" y="656"/>
                    <a:pt x="197" y="651"/>
                    <a:pt x="197" y="646"/>
                  </a:cubicBezTo>
                  <a:cubicBezTo>
                    <a:pt x="197" y="554"/>
                    <a:pt x="197" y="554"/>
                    <a:pt x="197" y="554"/>
                  </a:cubicBezTo>
                  <a:cubicBezTo>
                    <a:pt x="197" y="548"/>
                    <a:pt x="193" y="544"/>
                    <a:pt x="187" y="544"/>
                  </a:cubicBezTo>
                  <a:cubicBezTo>
                    <a:pt x="137" y="544"/>
                    <a:pt x="137" y="544"/>
                    <a:pt x="137" y="544"/>
                  </a:cubicBezTo>
                  <a:cubicBezTo>
                    <a:pt x="132" y="544"/>
                    <a:pt x="127" y="548"/>
                    <a:pt x="127" y="554"/>
                  </a:cubicBezTo>
                  <a:cubicBezTo>
                    <a:pt x="127" y="646"/>
                    <a:pt x="127" y="646"/>
                    <a:pt x="127" y="646"/>
                  </a:cubicBezTo>
                  <a:cubicBezTo>
                    <a:pt x="127" y="651"/>
                    <a:pt x="132" y="656"/>
                    <a:pt x="137" y="656"/>
                  </a:cubicBezTo>
                  <a:close/>
                  <a:moveTo>
                    <a:pt x="10" y="854"/>
                  </a:moveTo>
                  <a:cubicBezTo>
                    <a:pt x="60" y="854"/>
                    <a:pt x="60" y="854"/>
                    <a:pt x="60" y="854"/>
                  </a:cubicBezTo>
                  <a:cubicBezTo>
                    <a:pt x="66" y="854"/>
                    <a:pt x="70" y="850"/>
                    <a:pt x="70" y="844"/>
                  </a:cubicBezTo>
                  <a:cubicBezTo>
                    <a:pt x="70" y="752"/>
                    <a:pt x="70" y="752"/>
                    <a:pt x="70" y="752"/>
                  </a:cubicBezTo>
                  <a:cubicBezTo>
                    <a:pt x="70" y="747"/>
                    <a:pt x="66" y="742"/>
                    <a:pt x="60" y="742"/>
                  </a:cubicBezTo>
                  <a:cubicBezTo>
                    <a:pt x="10" y="742"/>
                    <a:pt x="10" y="742"/>
                    <a:pt x="10" y="742"/>
                  </a:cubicBezTo>
                  <a:cubicBezTo>
                    <a:pt x="5" y="742"/>
                    <a:pt x="0" y="747"/>
                    <a:pt x="0" y="752"/>
                  </a:cubicBezTo>
                  <a:cubicBezTo>
                    <a:pt x="0" y="844"/>
                    <a:pt x="0" y="844"/>
                    <a:pt x="0" y="844"/>
                  </a:cubicBezTo>
                  <a:cubicBezTo>
                    <a:pt x="0" y="850"/>
                    <a:pt x="5" y="854"/>
                    <a:pt x="10" y="854"/>
                  </a:cubicBezTo>
                  <a:close/>
                  <a:moveTo>
                    <a:pt x="991" y="278"/>
                  </a:moveTo>
                  <a:cubicBezTo>
                    <a:pt x="1138" y="278"/>
                    <a:pt x="1138" y="278"/>
                    <a:pt x="1138" y="278"/>
                  </a:cubicBezTo>
                  <a:cubicBezTo>
                    <a:pt x="1143" y="278"/>
                    <a:pt x="1148" y="274"/>
                    <a:pt x="1148" y="268"/>
                  </a:cubicBezTo>
                  <a:cubicBezTo>
                    <a:pt x="1148" y="176"/>
                    <a:pt x="1148" y="176"/>
                    <a:pt x="1148" y="176"/>
                  </a:cubicBezTo>
                  <a:cubicBezTo>
                    <a:pt x="1148" y="171"/>
                    <a:pt x="1143" y="166"/>
                    <a:pt x="1138" y="166"/>
                  </a:cubicBezTo>
                  <a:cubicBezTo>
                    <a:pt x="991" y="166"/>
                    <a:pt x="991" y="166"/>
                    <a:pt x="991" y="166"/>
                  </a:cubicBezTo>
                  <a:cubicBezTo>
                    <a:pt x="985" y="166"/>
                    <a:pt x="981" y="171"/>
                    <a:pt x="981" y="176"/>
                  </a:cubicBezTo>
                  <a:cubicBezTo>
                    <a:pt x="981" y="268"/>
                    <a:pt x="981" y="268"/>
                    <a:pt x="981" y="268"/>
                  </a:cubicBezTo>
                  <a:cubicBezTo>
                    <a:pt x="981" y="274"/>
                    <a:pt x="985" y="278"/>
                    <a:pt x="991" y="278"/>
                  </a:cubicBezTo>
                  <a:close/>
                  <a:moveTo>
                    <a:pt x="1224" y="278"/>
                  </a:moveTo>
                  <a:cubicBezTo>
                    <a:pt x="1370" y="278"/>
                    <a:pt x="1370" y="278"/>
                    <a:pt x="1370" y="278"/>
                  </a:cubicBezTo>
                  <a:cubicBezTo>
                    <a:pt x="1376" y="278"/>
                    <a:pt x="1380" y="274"/>
                    <a:pt x="1380" y="268"/>
                  </a:cubicBezTo>
                  <a:cubicBezTo>
                    <a:pt x="1380" y="176"/>
                    <a:pt x="1380" y="176"/>
                    <a:pt x="1380" y="176"/>
                  </a:cubicBezTo>
                  <a:cubicBezTo>
                    <a:pt x="1380" y="171"/>
                    <a:pt x="1376" y="166"/>
                    <a:pt x="1370" y="166"/>
                  </a:cubicBezTo>
                  <a:cubicBezTo>
                    <a:pt x="1224" y="166"/>
                    <a:pt x="1224" y="166"/>
                    <a:pt x="1224" y="166"/>
                  </a:cubicBezTo>
                  <a:cubicBezTo>
                    <a:pt x="1218" y="166"/>
                    <a:pt x="1214" y="171"/>
                    <a:pt x="1214" y="176"/>
                  </a:cubicBezTo>
                  <a:cubicBezTo>
                    <a:pt x="1214" y="268"/>
                    <a:pt x="1214" y="268"/>
                    <a:pt x="1214" y="268"/>
                  </a:cubicBezTo>
                  <a:cubicBezTo>
                    <a:pt x="1214" y="274"/>
                    <a:pt x="1218" y="278"/>
                    <a:pt x="1224" y="278"/>
                  </a:cubicBezTo>
                  <a:close/>
                  <a:moveTo>
                    <a:pt x="991" y="444"/>
                  </a:moveTo>
                  <a:cubicBezTo>
                    <a:pt x="1138" y="444"/>
                    <a:pt x="1138" y="444"/>
                    <a:pt x="1138" y="444"/>
                  </a:cubicBezTo>
                  <a:cubicBezTo>
                    <a:pt x="1143" y="444"/>
                    <a:pt x="1148" y="440"/>
                    <a:pt x="1148" y="434"/>
                  </a:cubicBezTo>
                  <a:cubicBezTo>
                    <a:pt x="1148" y="342"/>
                    <a:pt x="1148" y="342"/>
                    <a:pt x="1148" y="342"/>
                  </a:cubicBezTo>
                  <a:cubicBezTo>
                    <a:pt x="1148" y="337"/>
                    <a:pt x="1143" y="332"/>
                    <a:pt x="1138" y="332"/>
                  </a:cubicBezTo>
                  <a:cubicBezTo>
                    <a:pt x="991" y="332"/>
                    <a:pt x="991" y="332"/>
                    <a:pt x="991" y="332"/>
                  </a:cubicBezTo>
                  <a:cubicBezTo>
                    <a:pt x="985" y="332"/>
                    <a:pt x="981" y="337"/>
                    <a:pt x="981" y="342"/>
                  </a:cubicBezTo>
                  <a:cubicBezTo>
                    <a:pt x="981" y="434"/>
                    <a:pt x="981" y="434"/>
                    <a:pt x="981" y="434"/>
                  </a:cubicBezTo>
                  <a:cubicBezTo>
                    <a:pt x="981" y="440"/>
                    <a:pt x="985" y="444"/>
                    <a:pt x="991" y="444"/>
                  </a:cubicBezTo>
                  <a:close/>
                  <a:moveTo>
                    <a:pt x="1224" y="444"/>
                  </a:moveTo>
                  <a:cubicBezTo>
                    <a:pt x="1370" y="444"/>
                    <a:pt x="1370" y="444"/>
                    <a:pt x="1370" y="444"/>
                  </a:cubicBezTo>
                  <a:cubicBezTo>
                    <a:pt x="1376" y="444"/>
                    <a:pt x="1380" y="440"/>
                    <a:pt x="1380" y="434"/>
                  </a:cubicBezTo>
                  <a:cubicBezTo>
                    <a:pt x="1380" y="342"/>
                    <a:pt x="1380" y="342"/>
                    <a:pt x="1380" y="342"/>
                  </a:cubicBezTo>
                  <a:cubicBezTo>
                    <a:pt x="1380" y="337"/>
                    <a:pt x="1376" y="332"/>
                    <a:pt x="1370" y="332"/>
                  </a:cubicBezTo>
                  <a:cubicBezTo>
                    <a:pt x="1224" y="332"/>
                    <a:pt x="1224" y="332"/>
                    <a:pt x="1224" y="332"/>
                  </a:cubicBezTo>
                  <a:cubicBezTo>
                    <a:pt x="1218" y="332"/>
                    <a:pt x="1214" y="337"/>
                    <a:pt x="1214" y="342"/>
                  </a:cubicBezTo>
                  <a:cubicBezTo>
                    <a:pt x="1214" y="434"/>
                    <a:pt x="1214" y="434"/>
                    <a:pt x="1214" y="434"/>
                  </a:cubicBezTo>
                  <a:cubicBezTo>
                    <a:pt x="1214" y="440"/>
                    <a:pt x="1218" y="444"/>
                    <a:pt x="1224" y="444"/>
                  </a:cubicBezTo>
                  <a:close/>
                  <a:moveTo>
                    <a:pt x="991" y="610"/>
                  </a:moveTo>
                  <a:cubicBezTo>
                    <a:pt x="1138" y="610"/>
                    <a:pt x="1138" y="610"/>
                    <a:pt x="1138" y="610"/>
                  </a:cubicBezTo>
                  <a:cubicBezTo>
                    <a:pt x="1143" y="610"/>
                    <a:pt x="1148" y="606"/>
                    <a:pt x="1148" y="600"/>
                  </a:cubicBezTo>
                  <a:cubicBezTo>
                    <a:pt x="1148" y="508"/>
                    <a:pt x="1148" y="508"/>
                    <a:pt x="1148" y="508"/>
                  </a:cubicBezTo>
                  <a:cubicBezTo>
                    <a:pt x="1148" y="503"/>
                    <a:pt x="1143" y="498"/>
                    <a:pt x="1138" y="498"/>
                  </a:cubicBezTo>
                  <a:cubicBezTo>
                    <a:pt x="991" y="498"/>
                    <a:pt x="991" y="498"/>
                    <a:pt x="991" y="498"/>
                  </a:cubicBezTo>
                  <a:cubicBezTo>
                    <a:pt x="985" y="498"/>
                    <a:pt x="981" y="503"/>
                    <a:pt x="981" y="508"/>
                  </a:cubicBezTo>
                  <a:cubicBezTo>
                    <a:pt x="981" y="600"/>
                    <a:pt x="981" y="600"/>
                    <a:pt x="981" y="600"/>
                  </a:cubicBezTo>
                  <a:cubicBezTo>
                    <a:pt x="981" y="606"/>
                    <a:pt x="985" y="610"/>
                    <a:pt x="991" y="610"/>
                  </a:cubicBezTo>
                  <a:close/>
                  <a:moveTo>
                    <a:pt x="1224" y="610"/>
                  </a:moveTo>
                  <a:cubicBezTo>
                    <a:pt x="1370" y="610"/>
                    <a:pt x="1370" y="610"/>
                    <a:pt x="1370" y="610"/>
                  </a:cubicBezTo>
                  <a:cubicBezTo>
                    <a:pt x="1376" y="610"/>
                    <a:pt x="1380" y="606"/>
                    <a:pt x="1380" y="600"/>
                  </a:cubicBezTo>
                  <a:cubicBezTo>
                    <a:pt x="1380" y="508"/>
                    <a:pt x="1380" y="508"/>
                    <a:pt x="1380" y="508"/>
                  </a:cubicBezTo>
                  <a:cubicBezTo>
                    <a:pt x="1380" y="503"/>
                    <a:pt x="1376" y="498"/>
                    <a:pt x="1370" y="498"/>
                  </a:cubicBezTo>
                  <a:cubicBezTo>
                    <a:pt x="1224" y="498"/>
                    <a:pt x="1224" y="498"/>
                    <a:pt x="1224" y="498"/>
                  </a:cubicBezTo>
                  <a:cubicBezTo>
                    <a:pt x="1218" y="498"/>
                    <a:pt x="1214" y="503"/>
                    <a:pt x="1214" y="508"/>
                  </a:cubicBezTo>
                  <a:cubicBezTo>
                    <a:pt x="1214" y="600"/>
                    <a:pt x="1214" y="600"/>
                    <a:pt x="1214" y="600"/>
                  </a:cubicBezTo>
                  <a:cubicBezTo>
                    <a:pt x="1214" y="606"/>
                    <a:pt x="1218" y="610"/>
                    <a:pt x="1224" y="610"/>
                  </a:cubicBezTo>
                  <a:close/>
                  <a:moveTo>
                    <a:pt x="991" y="776"/>
                  </a:moveTo>
                  <a:cubicBezTo>
                    <a:pt x="1138" y="776"/>
                    <a:pt x="1138" y="776"/>
                    <a:pt x="1138" y="776"/>
                  </a:cubicBezTo>
                  <a:cubicBezTo>
                    <a:pt x="1143" y="776"/>
                    <a:pt x="1148" y="772"/>
                    <a:pt x="1148" y="766"/>
                  </a:cubicBezTo>
                  <a:cubicBezTo>
                    <a:pt x="1148" y="674"/>
                    <a:pt x="1148" y="674"/>
                    <a:pt x="1148" y="674"/>
                  </a:cubicBezTo>
                  <a:cubicBezTo>
                    <a:pt x="1148" y="669"/>
                    <a:pt x="1143" y="664"/>
                    <a:pt x="1138" y="664"/>
                  </a:cubicBezTo>
                  <a:cubicBezTo>
                    <a:pt x="991" y="664"/>
                    <a:pt x="991" y="664"/>
                    <a:pt x="991" y="664"/>
                  </a:cubicBezTo>
                  <a:cubicBezTo>
                    <a:pt x="985" y="664"/>
                    <a:pt x="981" y="669"/>
                    <a:pt x="981" y="674"/>
                  </a:cubicBezTo>
                  <a:cubicBezTo>
                    <a:pt x="981" y="766"/>
                    <a:pt x="981" y="766"/>
                    <a:pt x="981" y="766"/>
                  </a:cubicBezTo>
                  <a:cubicBezTo>
                    <a:pt x="981" y="772"/>
                    <a:pt x="985" y="776"/>
                    <a:pt x="991" y="776"/>
                  </a:cubicBezTo>
                  <a:close/>
                  <a:moveTo>
                    <a:pt x="1224" y="776"/>
                  </a:moveTo>
                  <a:cubicBezTo>
                    <a:pt x="1370" y="776"/>
                    <a:pt x="1370" y="776"/>
                    <a:pt x="1370" y="776"/>
                  </a:cubicBezTo>
                  <a:cubicBezTo>
                    <a:pt x="1376" y="776"/>
                    <a:pt x="1380" y="772"/>
                    <a:pt x="1380" y="766"/>
                  </a:cubicBezTo>
                  <a:cubicBezTo>
                    <a:pt x="1380" y="674"/>
                    <a:pt x="1380" y="674"/>
                    <a:pt x="1380" y="674"/>
                  </a:cubicBezTo>
                  <a:cubicBezTo>
                    <a:pt x="1380" y="669"/>
                    <a:pt x="1376" y="664"/>
                    <a:pt x="1370" y="664"/>
                  </a:cubicBezTo>
                  <a:cubicBezTo>
                    <a:pt x="1224" y="664"/>
                    <a:pt x="1224" y="664"/>
                    <a:pt x="1224" y="664"/>
                  </a:cubicBezTo>
                  <a:cubicBezTo>
                    <a:pt x="1218" y="664"/>
                    <a:pt x="1214" y="669"/>
                    <a:pt x="1214" y="674"/>
                  </a:cubicBezTo>
                  <a:cubicBezTo>
                    <a:pt x="1214" y="766"/>
                    <a:pt x="1214" y="766"/>
                    <a:pt x="1214" y="766"/>
                  </a:cubicBezTo>
                  <a:cubicBezTo>
                    <a:pt x="1214" y="772"/>
                    <a:pt x="1218" y="776"/>
                    <a:pt x="1224" y="776"/>
                  </a:cubicBezTo>
                  <a:close/>
                  <a:moveTo>
                    <a:pt x="1148" y="926"/>
                  </a:moveTo>
                  <a:cubicBezTo>
                    <a:pt x="1148" y="840"/>
                    <a:pt x="1148" y="840"/>
                    <a:pt x="1148" y="840"/>
                  </a:cubicBezTo>
                  <a:cubicBezTo>
                    <a:pt x="1148" y="835"/>
                    <a:pt x="1143" y="830"/>
                    <a:pt x="1138" y="830"/>
                  </a:cubicBezTo>
                  <a:cubicBezTo>
                    <a:pt x="991" y="830"/>
                    <a:pt x="991" y="830"/>
                    <a:pt x="991" y="830"/>
                  </a:cubicBezTo>
                  <a:cubicBezTo>
                    <a:pt x="985" y="830"/>
                    <a:pt x="981" y="835"/>
                    <a:pt x="981" y="840"/>
                  </a:cubicBezTo>
                  <a:cubicBezTo>
                    <a:pt x="981" y="879"/>
                    <a:pt x="981" y="879"/>
                    <a:pt x="981" y="879"/>
                  </a:cubicBezTo>
                  <a:cubicBezTo>
                    <a:pt x="1038" y="890"/>
                    <a:pt x="1094" y="905"/>
                    <a:pt x="1148" y="926"/>
                  </a:cubicBezTo>
                  <a:close/>
                  <a:moveTo>
                    <a:pt x="1526" y="1475"/>
                  </a:moveTo>
                  <a:cubicBezTo>
                    <a:pt x="1480" y="1012"/>
                    <a:pt x="1480" y="1012"/>
                    <a:pt x="1480" y="1012"/>
                  </a:cubicBezTo>
                  <a:cubicBezTo>
                    <a:pt x="1363" y="1012"/>
                    <a:pt x="1363" y="1012"/>
                    <a:pt x="1363" y="1012"/>
                  </a:cubicBezTo>
                  <a:cubicBezTo>
                    <a:pt x="1317" y="1475"/>
                    <a:pt x="1317" y="1475"/>
                    <a:pt x="1317" y="1475"/>
                  </a:cubicBezTo>
                  <a:lnTo>
                    <a:pt x="1526" y="14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6">
              <a:extLst>
                <a:ext uri="{FF2B5EF4-FFF2-40B4-BE49-F238E27FC236}">
                  <a16:creationId xmlns:a16="http://schemas.microsoft.com/office/drawing/2014/main" id="{C5BFBF7C-8BA3-44CF-A95B-6335DA2AC103}"/>
                </a:ext>
              </a:extLst>
            </p:cNvPr>
            <p:cNvSpPr>
              <a:spLocks noEditPoints="1"/>
            </p:cNvSpPr>
            <p:nvPr/>
          </p:nvSpPr>
          <p:spPr bwMode="auto">
            <a:xfrm>
              <a:off x="2126" y="311"/>
              <a:ext cx="3424" cy="3565"/>
            </a:xfrm>
            <a:custGeom>
              <a:avLst/>
              <a:gdLst>
                <a:gd name="T0" fmla="*/ 22 w 1828"/>
                <a:gd name="T1" fmla="*/ 1901 h 1901"/>
                <a:gd name="T2" fmla="*/ 22 w 1828"/>
                <a:gd name="T3" fmla="*/ 1857 h 1901"/>
                <a:gd name="T4" fmla="*/ 1828 w 1828"/>
                <a:gd name="T5" fmla="*/ 1879 h 1901"/>
                <a:gd name="T6" fmla="*/ 1521 w 1828"/>
                <a:gd name="T7" fmla="*/ 1588 h 1901"/>
                <a:gd name="T8" fmla="*/ 529 w 1828"/>
                <a:gd name="T9" fmla="*/ 1544 h 1901"/>
                <a:gd name="T10" fmla="*/ 645 w 1828"/>
                <a:gd name="T11" fmla="*/ 1375 h 1901"/>
                <a:gd name="T12" fmla="*/ 515 w 1828"/>
                <a:gd name="T13" fmla="*/ 1400 h 1901"/>
                <a:gd name="T14" fmla="*/ 662 w 1828"/>
                <a:gd name="T15" fmla="*/ 1320 h 1901"/>
                <a:gd name="T16" fmla="*/ 1393 w 1828"/>
                <a:gd name="T17" fmla="*/ 1320 h 1901"/>
                <a:gd name="T18" fmla="*/ 1540 w 1828"/>
                <a:gd name="T19" fmla="*/ 1400 h 1901"/>
                <a:gd name="T20" fmla="*/ 1409 w 1828"/>
                <a:gd name="T21" fmla="*/ 1375 h 1901"/>
                <a:gd name="T22" fmla="*/ 1525 w 1828"/>
                <a:gd name="T23" fmla="*/ 1544 h 1901"/>
                <a:gd name="T24" fmla="*/ 825 w 1828"/>
                <a:gd name="T25" fmla="*/ 1311 h 1901"/>
                <a:gd name="T26" fmla="*/ 689 w 1828"/>
                <a:gd name="T27" fmla="*/ 1544 h 1901"/>
                <a:gd name="T28" fmla="*/ 825 w 1828"/>
                <a:gd name="T29" fmla="*/ 1311 h 1901"/>
                <a:gd name="T30" fmla="*/ 869 w 1828"/>
                <a:gd name="T31" fmla="*/ 1302 h 1901"/>
                <a:gd name="T32" fmla="*/ 1005 w 1828"/>
                <a:gd name="T33" fmla="*/ 1544 h 1901"/>
                <a:gd name="T34" fmla="*/ 1185 w 1828"/>
                <a:gd name="T35" fmla="*/ 1302 h 1901"/>
                <a:gd name="T36" fmla="*/ 1049 w 1828"/>
                <a:gd name="T37" fmla="*/ 1544 h 1901"/>
                <a:gd name="T38" fmla="*/ 1185 w 1828"/>
                <a:gd name="T39" fmla="*/ 1302 h 1901"/>
                <a:gd name="T40" fmla="*/ 1229 w 1828"/>
                <a:gd name="T41" fmla="*/ 1311 h 1901"/>
                <a:gd name="T42" fmla="*/ 1365 w 1828"/>
                <a:gd name="T43" fmla="*/ 1544 h 1901"/>
                <a:gd name="T44" fmla="*/ 1705 w 1828"/>
                <a:gd name="T45" fmla="*/ 259 h 1901"/>
                <a:gd name="T46" fmla="*/ 1661 w 1828"/>
                <a:gd name="T47" fmla="*/ 1306 h 1901"/>
                <a:gd name="T48" fmla="*/ 1622 w 1828"/>
                <a:gd name="T49" fmla="*/ 281 h 1901"/>
                <a:gd name="T50" fmla="*/ 1152 w 1828"/>
                <a:gd name="T51" fmla="*/ 281 h 1901"/>
                <a:gd name="T52" fmla="*/ 1108 w 1828"/>
                <a:gd name="T53" fmla="*/ 1203 h 1901"/>
                <a:gd name="T54" fmla="*/ 1130 w 1828"/>
                <a:gd name="T55" fmla="*/ 237 h 1901"/>
                <a:gd name="T56" fmla="*/ 1170 w 1828"/>
                <a:gd name="T57" fmla="*/ 174 h 1901"/>
                <a:gd name="T58" fmla="*/ 1385 w 1828"/>
                <a:gd name="T59" fmla="*/ 152 h 1901"/>
                <a:gd name="T60" fmla="*/ 1407 w 1828"/>
                <a:gd name="T61" fmla="*/ 0 h 1901"/>
                <a:gd name="T62" fmla="*/ 1429 w 1828"/>
                <a:gd name="T63" fmla="*/ 152 h 1901"/>
                <a:gd name="T64" fmla="*/ 1644 w 1828"/>
                <a:gd name="T65" fmla="*/ 174 h 1901"/>
                <a:gd name="T66" fmla="*/ 1683 w 1828"/>
                <a:gd name="T67" fmla="*/ 237 h 1901"/>
                <a:gd name="T68" fmla="*/ 1600 w 1828"/>
                <a:gd name="T69" fmla="*/ 237 h 1901"/>
                <a:gd name="T70" fmla="*/ 1214 w 1828"/>
                <a:gd name="T71" fmla="*/ 196 h 1901"/>
                <a:gd name="T72" fmla="*/ 1600 w 1828"/>
                <a:gd name="T73" fmla="*/ 237 h 1901"/>
                <a:gd name="T74" fmla="*/ 152 w 1828"/>
                <a:gd name="T75" fmla="*/ 1112 h 1901"/>
                <a:gd name="T76" fmla="*/ 531 w 1828"/>
                <a:gd name="T77" fmla="*/ 487 h 1901"/>
                <a:gd name="T78" fmla="*/ 892 w 1828"/>
                <a:gd name="T79" fmla="*/ 416 h 1901"/>
                <a:gd name="T80" fmla="*/ 936 w 1828"/>
                <a:gd name="T81" fmla="*/ 1204 h 1901"/>
                <a:gd name="T82" fmla="*/ 914 w 1828"/>
                <a:gd name="T83" fmla="*/ 372 h 1901"/>
                <a:gd name="T84" fmla="*/ 487 w 1828"/>
                <a:gd name="T85" fmla="*/ 394 h 1901"/>
                <a:gd name="T86" fmla="*/ 111 w 1828"/>
                <a:gd name="T87" fmla="*/ 1095 h 1901"/>
                <a:gd name="T88" fmla="*/ 108 w 1828"/>
                <a:gd name="T89" fmla="*/ 1813 h 1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8" h="1901">
                  <a:moveTo>
                    <a:pt x="1806" y="1901"/>
                  </a:moveTo>
                  <a:cubicBezTo>
                    <a:pt x="22" y="1901"/>
                    <a:pt x="22" y="1901"/>
                    <a:pt x="22" y="1901"/>
                  </a:cubicBezTo>
                  <a:cubicBezTo>
                    <a:pt x="10" y="1901"/>
                    <a:pt x="0" y="1891"/>
                    <a:pt x="0" y="1879"/>
                  </a:cubicBezTo>
                  <a:cubicBezTo>
                    <a:pt x="0" y="1867"/>
                    <a:pt x="10" y="1857"/>
                    <a:pt x="22" y="1857"/>
                  </a:cubicBezTo>
                  <a:cubicBezTo>
                    <a:pt x="1806" y="1857"/>
                    <a:pt x="1806" y="1857"/>
                    <a:pt x="1806" y="1857"/>
                  </a:cubicBezTo>
                  <a:cubicBezTo>
                    <a:pt x="1818" y="1857"/>
                    <a:pt x="1828" y="1867"/>
                    <a:pt x="1828" y="1879"/>
                  </a:cubicBezTo>
                  <a:cubicBezTo>
                    <a:pt x="1828" y="1891"/>
                    <a:pt x="1818" y="1901"/>
                    <a:pt x="1806" y="1901"/>
                  </a:cubicBezTo>
                  <a:close/>
                  <a:moveTo>
                    <a:pt x="1521" y="1588"/>
                  </a:moveTo>
                  <a:cubicBezTo>
                    <a:pt x="534" y="1588"/>
                    <a:pt x="534" y="1588"/>
                    <a:pt x="534" y="1588"/>
                  </a:cubicBezTo>
                  <a:cubicBezTo>
                    <a:pt x="529" y="1544"/>
                    <a:pt x="529" y="1544"/>
                    <a:pt x="529" y="1544"/>
                  </a:cubicBezTo>
                  <a:cubicBezTo>
                    <a:pt x="645" y="1544"/>
                    <a:pt x="645" y="1544"/>
                    <a:pt x="645" y="1544"/>
                  </a:cubicBezTo>
                  <a:cubicBezTo>
                    <a:pt x="645" y="1375"/>
                    <a:pt x="645" y="1375"/>
                    <a:pt x="645" y="1375"/>
                  </a:cubicBezTo>
                  <a:cubicBezTo>
                    <a:pt x="602" y="1397"/>
                    <a:pt x="560" y="1421"/>
                    <a:pt x="520" y="1450"/>
                  </a:cubicBezTo>
                  <a:cubicBezTo>
                    <a:pt x="515" y="1400"/>
                    <a:pt x="515" y="1400"/>
                    <a:pt x="515" y="1400"/>
                  </a:cubicBezTo>
                  <a:cubicBezTo>
                    <a:pt x="560" y="1370"/>
                    <a:pt x="607" y="1344"/>
                    <a:pt x="655" y="1322"/>
                  </a:cubicBezTo>
                  <a:cubicBezTo>
                    <a:pt x="657" y="1321"/>
                    <a:pt x="659" y="1320"/>
                    <a:pt x="662" y="1320"/>
                  </a:cubicBezTo>
                  <a:cubicBezTo>
                    <a:pt x="776" y="1270"/>
                    <a:pt x="900" y="1244"/>
                    <a:pt x="1027" y="1244"/>
                  </a:cubicBezTo>
                  <a:cubicBezTo>
                    <a:pt x="1155" y="1244"/>
                    <a:pt x="1279" y="1270"/>
                    <a:pt x="1393" y="1320"/>
                  </a:cubicBezTo>
                  <a:cubicBezTo>
                    <a:pt x="1395" y="1320"/>
                    <a:pt x="1397" y="1321"/>
                    <a:pt x="1399" y="1322"/>
                  </a:cubicBezTo>
                  <a:cubicBezTo>
                    <a:pt x="1448" y="1344"/>
                    <a:pt x="1495" y="1370"/>
                    <a:pt x="1540" y="1400"/>
                  </a:cubicBezTo>
                  <a:cubicBezTo>
                    <a:pt x="1535" y="1450"/>
                    <a:pt x="1535" y="1450"/>
                    <a:pt x="1535" y="1450"/>
                  </a:cubicBezTo>
                  <a:cubicBezTo>
                    <a:pt x="1495" y="1421"/>
                    <a:pt x="1453" y="1397"/>
                    <a:pt x="1409" y="1375"/>
                  </a:cubicBezTo>
                  <a:cubicBezTo>
                    <a:pt x="1409" y="1544"/>
                    <a:pt x="1409" y="1544"/>
                    <a:pt x="1409" y="1544"/>
                  </a:cubicBezTo>
                  <a:cubicBezTo>
                    <a:pt x="1525" y="1544"/>
                    <a:pt x="1525" y="1544"/>
                    <a:pt x="1525" y="1544"/>
                  </a:cubicBezTo>
                  <a:lnTo>
                    <a:pt x="1521" y="1588"/>
                  </a:lnTo>
                  <a:close/>
                  <a:moveTo>
                    <a:pt x="825" y="1311"/>
                  </a:moveTo>
                  <a:cubicBezTo>
                    <a:pt x="779" y="1322"/>
                    <a:pt x="733" y="1337"/>
                    <a:pt x="689" y="1356"/>
                  </a:cubicBezTo>
                  <a:cubicBezTo>
                    <a:pt x="689" y="1544"/>
                    <a:pt x="689" y="1544"/>
                    <a:pt x="689" y="1544"/>
                  </a:cubicBezTo>
                  <a:cubicBezTo>
                    <a:pt x="825" y="1544"/>
                    <a:pt x="825" y="1544"/>
                    <a:pt x="825" y="1544"/>
                  </a:cubicBezTo>
                  <a:lnTo>
                    <a:pt x="825" y="1311"/>
                  </a:lnTo>
                  <a:close/>
                  <a:moveTo>
                    <a:pt x="1005" y="1288"/>
                  </a:moveTo>
                  <a:cubicBezTo>
                    <a:pt x="959" y="1289"/>
                    <a:pt x="914" y="1294"/>
                    <a:pt x="869" y="1302"/>
                  </a:cubicBezTo>
                  <a:cubicBezTo>
                    <a:pt x="869" y="1544"/>
                    <a:pt x="869" y="1544"/>
                    <a:pt x="869" y="1544"/>
                  </a:cubicBezTo>
                  <a:cubicBezTo>
                    <a:pt x="1005" y="1544"/>
                    <a:pt x="1005" y="1544"/>
                    <a:pt x="1005" y="1544"/>
                  </a:cubicBezTo>
                  <a:lnTo>
                    <a:pt x="1005" y="1288"/>
                  </a:lnTo>
                  <a:close/>
                  <a:moveTo>
                    <a:pt x="1185" y="1302"/>
                  </a:moveTo>
                  <a:cubicBezTo>
                    <a:pt x="1141" y="1294"/>
                    <a:pt x="1095" y="1289"/>
                    <a:pt x="1049" y="1288"/>
                  </a:cubicBezTo>
                  <a:cubicBezTo>
                    <a:pt x="1049" y="1544"/>
                    <a:pt x="1049" y="1544"/>
                    <a:pt x="1049" y="1544"/>
                  </a:cubicBezTo>
                  <a:cubicBezTo>
                    <a:pt x="1185" y="1544"/>
                    <a:pt x="1185" y="1544"/>
                    <a:pt x="1185" y="1544"/>
                  </a:cubicBezTo>
                  <a:lnTo>
                    <a:pt x="1185" y="1302"/>
                  </a:lnTo>
                  <a:close/>
                  <a:moveTo>
                    <a:pt x="1365" y="1356"/>
                  </a:moveTo>
                  <a:cubicBezTo>
                    <a:pt x="1321" y="1337"/>
                    <a:pt x="1276" y="1322"/>
                    <a:pt x="1229" y="1311"/>
                  </a:cubicBezTo>
                  <a:cubicBezTo>
                    <a:pt x="1229" y="1544"/>
                    <a:pt x="1229" y="1544"/>
                    <a:pt x="1229" y="1544"/>
                  </a:cubicBezTo>
                  <a:cubicBezTo>
                    <a:pt x="1365" y="1544"/>
                    <a:pt x="1365" y="1544"/>
                    <a:pt x="1365" y="1544"/>
                  </a:cubicBezTo>
                  <a:lnTo>
                    <a:pt x="1365" y="1356"/>
                  </a:lnTo>
                  <a:close/>
                  <a:moveTo>
                    <a:pt x="1705" y="259"/>
                  </a:moveTo>
                  <a:cubicBezTo>
                    <a:pt x="1705" y="1306"/>
                    <a:pt x="1705" y="1306"/>
                    <a:pt x="1705" y="1306"/>
                  </a:cubicBezTo>
                  <a:cubicBezTo>
                    <a:pt x="1661" y="1306"/>
                    <a:pt x="1661" y="1306"/>
                    <a:pt x="1661" y="1306"/>
                  </a:cubicBezTo>
                  <a:cubicBezTo>
                    <a:pt x="1661" y="281"/>
                    <a:pt x="1661" y="281"/>
                    <a:pt x="1661" y="281"/>
                  </a:cubicBezTo>
                  <a:cubicBezTo>
                    <a:pt x="1622" y="281"/>
                    <a:pt x="1622" y="281"/>
                    <a:pt x="1622" y="281"/>
                  </a:cubicBezTo>
                  <a:cubicBezTo>
                    <a:pt x="1192" y="281"/>
                    <a:pt x="1192" y="281"/>
                    <a:pt x="1192" y="281"/>
                  </a:cubicBezTo>
                  <a:cubicBezTo>
                    <a:pt x="1152" y="281"/>
                    <a:pt x="1152" y="281"/>
                    <a:pt x="1152" y="281"/>
                  </a:cubicBezTo>
                  <a:cubicBezTo>
                    <a:pt x="1152" y="1208"/>
                    <a:pt x="1152" y="1208"/>
                    <a:pt x="1152" y="1208"/>
                  </a:cubicBezTo>
                  <a:cubicBezTo>
                    <a:pt x="1137" y="1206"/>
                    <a:pt x="1123" y="1205"/>
                    <a:pt x="1108" y="1203"/>
                  </a:cubicBezTo>
                  <a:cubicBezTo>
                    <a:pt x="1108" y="259"/>
                    <a:pt x="1108" y="259"/>
                    <a:pt x="1108" y="259"/>
                  </a:cubicBezTo>
                  <a:cubicBezTo>
                    <a:pt x="1108" y="247"/>
                    <a:pt x="1118" y="237"/>
                    <a:pt x="1130" y="237"/>
                  </a:cubicBezTo>
                  <a:cubicBezTo>
                    <a:pt x="1170" y="237"/>
                    <a:pt x="1170" y="237"/>
                    <a:pt x="1170" y="237"/>
                  </a:cubicBezTo>
                  <a:cubicBezTo>
                    <a:pt x="1170" y="174"/>
                    <a:pt x="1170" y="174"/>
                    <a:pt x="1170" y="174"/>
                  </a:cubicBezTo>
                  <a:cubicBezTo>
                    <a:pt x="1170" y="162"/>
                    <a:pt x="1180" y="152"/>
                    <a:pt x="1192" y="152"/>
                  </a:cubicBezTo>
                  <a:cubicBezTo>
                    <a:pt x="1385" y="152"/>
                    <a:pt x="1385" y="152"/>
                    <a:pt x="1385" y="152"/>
                  </a:cubicBezTo>
                  <a:cubicBezTo>
                    <a:pt x="1385" y="22"/>
                    <a:pt x="1385" y="22"/>
                    <a:pt x="1385" y="22"/>
                  </a:cubicBezTo>
                  <a:cubicBezTo>
                    <a:pt x="1385" y="10"/>
                    <a:pt x="1395" y="0"/>
                    <a:pt x="1407" y="0"/>
                  </a:cubicBezTo>
                  <a:cubicBezTo>
                    <a:pt x="1419" y="0"/>
                    <a:pt x="1429" y="10"/>
                    <a:pt x="1429" y="22"/>
                  </a:cubicBezTo>
                  <a:cubicBezTo>
                    <a:pt x="1429" y="152"/>
                    <a:pt x="1429" y="152"/>
                    <a:pt x="1429" y="152"/>
                  </a:cubicBezTo>
                  <a:cubicBezTo>
                    <a:pt x="1622" y="152"/>
                    <a:pt x="1622" y="152"/>
                    <a:pt x="1622" y="152"/>
                  </a:cubicBezTo>
                  <a:cubicBezTo>
                    <a:pt x="1634" y="152"/>
                    <a:pt x="1644" y="162"/>
                    <a:pt x="1644" y="174"/>
                  </a:cubicBezTo>
                  <a:cubicBezTo>
                    <a:pt x="1644" y="237"/>
                    <a:pt x="1644" y="237"/>
                    <a:pt x="1644" y="237"/>
                  </a:cubicBezTo>
                  <a:cubicBezTo>
                    <a:pt x="1683" y="237"/>
                    <a:pt x="1683" y="237"/>
                    <a:pt x="1683" y="237"/>
                  </a:cubicBezTo>
                  <a:cubicBezTo>
                    <a:pt x="1695" y="237"/>
                    <a:pt x="1705" y="247"/>
                    <a:pt x="1705" y="259"/>
                  </a:cubicBezTo>
                  <a:close/>
                  <a:moveTo>
                    <a:pt x="1600" y="237"/>
                  </a:moveTo>
                  <a:cubicBezTo>
                    <a:pt x="1600" y="196"/>
                    <a:pt x="1600" y="196"/>
                    <a:pt x="1600" y="196"/>
                  </a:cubicBezTo>
                  <a:cubicBezTo>
                    <a:pt x="1214" y="196"/>
                    <a:pt x="1214" y="196"/>
                    <a:pt x="1214" y="196"/>
                  </a:cubicBezTo>
                  <a:cubicBezTo>
                    <a:pt x="1214" y="237"/>
                    <a:pt x="1214" y="237"/>
                    <a:pt x="1214" y="237"/>
                  </a:cubicBezTo>
                  <a:lnTo>
                    <a:pt x="1600" y="237"/>
                  </a:lnTo>
                  <a:close/>
                  <a:moveTo>
                    <a:pt x="152" y="1813"/>
                  </a:moveTo>
                  <a:cubicBezTo>
                    <a:pt x="152" y="1112"/>
                    <a:pt x="152" y="1112"/>
                    <a:pt x="152" y="1112"/>
                  </a:cubicBezTo>
                  <a:cubicBezTo>
                    <a:pt x="528" y="498"/>
                    <a:pt x="528" y="498"/>
                    <a:pt x="528" y="498"/>
                  </a:cubicBezTo>
                  <a:cubicBezTo>
                    <a:pt x="530" y="495"/>
                    <a:pt x="531" y="491"/>
                    <a:pt x="531" y="487"/>
                  </a:cubicBezTo>
                  <a:cubicBezTo>
                    <a:pt x="531" y="416"/>
                    <a:pt x="531" y="416"/>
                    <a:pt x="531" y="416"/>
                  </a:cubicBezTo>
                  <a:cubicBezTo>
                    <a:pt x="892" y="416"/>
                    <a:pt x="892" y="416"/>
                    <a:pt x="892" y="416"/>
                  </a:cubicBezTo>
                  <a:cubicBezTo>
                    <a:pt x="892" y="1210"/>
                    <a:pt x="892" y="1210"/>
                    <a:pt x="892" y="1210"/>
                  </a:cubicBezTo>
                  <a:cubicBezTo>
                    <a:pt x="907" y="1207"/>
                    <a:pt x="921" y="1206"/>
                    <a:pt x="936" y="1204"/>
                  </a:cubicBezTo>
                  <a:cubicBezTo>
                    <a:pt x="936" y="394"/>
                    <a:pt x="936" y="394"/>
                    <a:pt x="936" y="394"/>
                  </a:cubicBezTo>
                  <a:cubicBezTo>
                    <a:pt x="936" y="382"/>
                    <a:pt x="926" y="372"/>
                    <a:pt x="914" y="372"/>
                  </a:cubicBezTo>
                  <a:cubicBezTo>
                    <a:pt x="509" y="372"/>
                    <a:pt x="509" y="372"/>
                    <a:pt x="509" y="372"/>
                  </a:cubicBezTo>
                  <a:cubicBezTo>
                    <a:pt x="497" y="372"/>
                    <a:pt x="487" y="382"/>
                    <a:pt x="487" y="394"/>
                  </a:cubicBezTo>
                  <a:cubicBezTo>
                    <a:pt x="487" y="481"/>
                    <a:pt x="487" y="481"/>
                    <a:pt x="487" y="481"/>
                  </a:cubicBezTo>
                  <a:cubicBezTo>
                    <a:pt x="111" y="1095"/>
                    <a:pt x="111" y="1095"/>
                    <a:pt x="111" y="1095"/>
                  </a:cubicBezTo>
                  <a:cubicBezTo>
                    <a:pt x="109" y="1098"/>
                    <a:pt x="108" y="1102"/>
                    <a:pt x="108" y="1106"/>
                  </a:cubicBezTo>
                  <a:cubicBezTo>
                    <a:pt x="108" y="1813"/>
                    <a:pt x="108" y="1813"/>
                    <a:pt x="108" y="1813"/>
                  </a:cubicBezTo>
                  <a:lnTo>
                    <a:pt x="152" y="1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7" name="Group 46">
            <a:extLst>
              <a:ext uri="{FF2B5EF4-FFF2-40B4-BE49-F238E27FC236}">
                <a16:creationId xmlns:a16="http://schemas.microsoft.com/office/drawing/2014/main" id="{FF74162C-B0F8-42AB-95C2-CF8C7C211FEF}"/>
              </a:ext>
            </a:extLst>
          </p:cNvPr>
          <p:cNvGrpSpPr/>
          <p:nvPr/>
        </p:nvGrpSpPr>
        <p:grpSpPr>
          <a:xfrm>
            <a:off x="6240016" y="1340768"/>
            <a:ext cx="5472608" cy="4870906"/>
            <a:chOff x="6240016" y="1340768"/>
            <a:chExt cx="5472608" cy="4870906"/>
          </a:xfrm>
        </p:grpSpPr>
        <p:sp>
          <p:nvSpPr>
            <p:cNvPr id="45" name="Title 2">
              <a:extLst>
                <a:ext uri="{FF2B5EF4-FFF2-40B4-BE49-F238E27FC236}">
                  <a16:creationId xmlns:a16="http://schemas.microsoft.com/office/drawing/2014/main" id="{D7D5F9A5-79C4-4899-A607-19D1AC78E9E0}"/>
                </a:ext>
              </a:extLst>
            </p:cNvPr>
            <p:cNvSpPr txBox="1">
              <a:spLocks/>
            </p:cNvSpPr>
            <p:nvPr/>
          </p:nvSpPr>
          <p:spPr>
            <a:xfrm>
              <a:off x="6240016" y="4857457"/>
              <a:ext cx="5472608" cy="1354217"/>
            </a:xfrm>
            <a:prstGeom prst="rect">
              <a:avLst/>
            </a:prstGeom>
          </p:spPr>
          <p:txBody>
            <a:bodyPr vert="horz" wrap="square" lIns="0" tIns="0" rIns="0" bIns="0" rtlCol="0" anchor="b">
              <a:spAutoFit/>
            </a:bodyPr>
            <a:lstStyle>
              <a:lvl1pPr marL="0" algn="l" defTabSz="914400" rtl="0" eaLnBrk="1" fontAlgn="auto" latinLnBrk="0" hangingPunct="1">
                <a:lnSpc>
                  <a:spcPts val="6000"/>
                </a:lnSpc>
                <a:spcBef>
                  <a:spcPts val="0"/>
                </a:spcBef>
                <a:spcAft>
                  <a:spcPts val="0"/>
                </a:spcAft>
                <a:buNone/>
                <a:defRPr lang="en-US" sz="5500" kern="1200" baseline="0" dirty="0">
                  <a:solidFill>
                    <a:schemeClr val="bg1"/>
                  </a:solidFill>
                  <a:latin typeface="+mj-lt"/>
                  <a:ea typeface="+mn-ea"/>
                  <a:cs typeface="Arial" panose="020B0604020202020204" pitchFamily="34" charset="0"/>
                </a:defRPr>
              </a:lvl1pPr>
            </a:lstStyle>
            <a:p>
              <a:pPr algn="ctr">
                <a:lnSpc>
                  <a:spcPct val="100000"/>
                </a:lnSpc>
              </a:pPr>
              <a:r>
                <a:rPr lang="cs-CZ" sz="4400" b="1" dirty="0">
                  <a:latin typeface="+mn-lt"/>
                </a:rPr>
                <a:t>...</a:t>
              </a:r>
              <a:r>
                <a:rPr lang="cs-CZ" sz="4400" b="1" dirty="0" err="1">
                  <a:latin typeface="+mn-lt"/>
                </a:rPr>
                <a:t>become</a:t>
              </a:r>
              <a:r>
                <a:rPr lang="cs-CZ" sz="4400" b="1" dirty="0">
                  <a:latin typeface="+mn-lt"/>
                </a:rPr>
                <a:t> such a</a:t>
              </a:r>
              <a:br>
                <a:rPr lang="cs-CZ" sz="4400" b="1" dirty="0">
                  <a:latin typeface="+mn-lt"/>
                </a:rPr>
              </a:br>
              <a:r>
                <a:rPr lang="cs-CZ" sz="4400" b="1" dirty="0">
                  <a:latin typeface="+mn-lt"/>
                </a:rPr>
                <a:t>Real MESS </a:t>
              </a:r>
              <a:r>
                <a:rPr lang="cs-CZ" sz="4400" b="1" dirty="0" err="1">
                  <a:latin typeface="+mn-lt"/>
                </a:rPr>
                <a:t>state</a:t>
              </a:r>
              <a:r>
                <a:rPr lang="cs-CZ" sz="4400" b="1" dirty="0">
                  <a:latin typeface="+mn-lt"/>
                </a:rPr>
                <a:t>? </a:t>
              </a:r>
              <a:endParaRPr lang="en-US" sz="4400" b="1" dirty="0">
                <a:latin typeface="+mn-lt"/>
              </a:endParaRPr>
            </a:p>
          </p:txBody>
        </p:sp>
        <p:grpSp>
          <p:nvGrpSpPr>
            <p:cNvPr id="2" name="Group 1">
              <a:extLst>
                <a:ext uri="{FF2B5EF4-FFF2-40B4-BE49-F238E27FC236}">
                  <a16:creationId xmlns:a16="http://schemas.microsoft.com/office/drawing/2014/main" id="{6C69B7B7-9459-4ADB-8353-76425B1C6DF2}"/>
                </a:ext>
              </a:extLst>
            </p:cNvPr>
            <p:cNvGrpSpPr/>
            <p:nvPr/>
          </p:nvGrpSpPr>
          <p:grpSpPr>
            <a:xfrm>
              <a:off x="7320136" y="1340768"/>
              <a:ext cx="3168352" cy="3352446"/>
              <a:chOff x="1975847" y="2378470"/>
              <a:chExt cx="2020133" cy="2137511"/>
            </a:xfrm>
          </p:grpSpPr>
          <p:grpSp>
            <p:nvGrpSpPr>
              <p:cNvPr id="29" name="bcgIcons_Hammer">
                <a:extLst>
                  <a:ext uri="{FF2B5EF4-FFF2-40B4-BE49-F238E27FC236}">
                    <a16:creationId xmlns:a16="http://schemas.microsoft.com/office/drawing/2014/main" id="{737D8AB4-3918-4E95-A49C-F090614419FA}"/>
                  </a:ext>
                </a:extLst>
              </p:cNvPr>
              <p:cNvGrpSpPr>
                <a:grpSpLocks noChangeAspect="1"/>
              </p:cNvGrpSpPr>
              <p:nvPr/>
            </p:nvGrpSpPr>
            <p:grpSpPr bwMode="auto">
              <a:xfrm>
                <a:off x="1975847" y="2378470"/>
                <a:ext cx="1166292" cy="1167373"/>
                <a:chOff x="1682" y="0"/>
                <a:chExt cx="4316" cy="4320"/>
              </a:xfrm>
            </p:grpSpPr>
            <p:sp>
              <p:nvSpPr>
                <p:cNvPr id="30" name="AutoShape 3">
                  <a:extLst>
                    <a:ext uri="{FF2B5EF4-FFF2-40B4-BE49-F238E27FC236}">
                      <a16:creationId xmlns:a16="http://schemas.microsoft.com/office/drawing/2014/main" id="{FD9F884E-9332-4C9B-B570-8B0142D3797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1" name="Freeform 5">
                  <a:extLst>
                    <a:ext uri="{FF2B5EF4-FFF2-40B4-BE49-F238E27FC236}">
                      <a16:creationId xmlns:a16="http://schemas.microsoft.com/office/drawing/2014/main" id="{78659856-0E0B-4F86-9FE8-A7606287DF71}"/>
                    </a:ext>
                  </a:extLst>
                </p:cNvPr>
                <p:cNvSpPr>
                  <a:spLocks/>
                </p:cNvSpPr>
                <p:nvPr/>
              </p:nvSpPr>
              <p:spPr bwMode="auto">
                <a:xfrm>
                  <a:off x="3345" y="570"/>
                  <a:ext cx="2033" cy="1584"/>
                </a:xfrm>
                <a:custGeom>
                  <a:avLst/>
                  <a:gdLst>
                    <a:gd name="T0" fmla="*/ 1076 w 1085"/>
                    <a:gd name="T1" fmla="*/ 598 h 845"/>
                    <a:gd name="T2" fmla="*/ 988 w 1085"/>
                    <a:gd name="T3" fmla="*/ 519 h 845"/>
                    <a:gd name="T4" fmla="*/ 959 w 1085"/>
                    <a:gd name="T5" fmla="*/ 520 h 845"/>
                    <a:gd name="T6" fmla="*/ 953 w 1085"/>
                    <a:gd name="T7" fmla="*/ 527 h 845"/>
                    <a:gd name="T8" fmla="*/ 953 w 1085"/>
                    <a:gd name="T9" fmla="*/ 527 h 845"/>
                    <a:gd name="T10" fmla="*/ 845 w 1085"/>
                    <a:gd name="T11" fmla="*/ 516 h 845"/>
                    <a:gd name="T12" fmla="*/ 811 w 1085"/>
                    <a:gd name="T13" fmla="*/ 390 h 845"/>
                    <a:gd name="T14" fmla="*/ 792 w 1085"/>
                    <a:gd name="T15" fmla="*/ 330 h 845"/>
                    <a:gd name="T16" fmla="*/ 635 w 1085"/>
                    <a:gd name="T17" fmla="*/ 190 h 845"/>
                    <a:gd name="T18" fmla="*/ 0 w 1085"/>
                    <a:gd name="T19" fmla="*/ 112 h 845"/>
                    <a:gd name="T20" fmla="*/ 8 w 1085"/>
                    <a:gd name="T21" fmla="*/ 168 h 845"/>
                    <a:gd name="T22" fmla="*/ 387 w 1085"/>
                    <a:gd name="T23" fmla="*/ 302 h 845"/>
                    <a:gd name="T24" fmla="*/ 371 w 1085"/>
                    <a:gd name="T25" fmla="*/ 464 h 845"/>
                    <a:gd name="T26" fmla="*/ 371 w 1085"/>
                    <a:gd name="T27" fmla="*/ 464 h 845"/>
                    <a:gd name="T28" fmla="*/ 374 w 1085"/>
                    <a:gd name="T29" fmla="*/ 493 h 845"/>
                    <a:gd name="T30" fmla="*/ 523 w 1085"/>
                    <a:gd name="T31" fmla="*/ 627 h 845"/>
                    <a:gd name="T32" fmla="*/ 554 w 1085"/>
                    <a:gd name="T33" fmla="*/ 625 h 845"/>
                    <a:gd name="T34" fmla="*/ 592 w 1085"/>
                    <a:gd name="T35" fmla="*/ 583 h 845"/>
                    <a:gd name="T36" fmla="*/ 739 w 1085"/>
                    <a:gd name="T37" fmla="*/ 608 h 845"/>
                    <a:gd name="T38" fmla="*/ 771 w 1085"/>
                    <a:gd name="T39" fmla="*/ 730 h 845"/>
                    <a:gd name="T40" fmla="*/ 772 w 1085"/>
                    <a:gd name="T41" fmla="*/ 759 h 845"/>
                    <a:gd name="T42" fmla="*/ 860 w 1085"/>
                    <a:gd name="T43" fmla="*/ 838 h 845"/>
                    <a:gd name="T44" fmla="*/ 889 w 1085"/>
                    <a:gd name="T45" fmla="*/ 836 h 845"/>
                    <a:gd name="T46" fmla="*/ 1077 w 1085"/>
                    <a:gd name="T47" fmla="*/ 626 h 845"/>
                    <a:gd name="T48" fmla="*/ 1076 w 1085"/>
                    <a:gd name="T49" fmla="*/ 598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5" h="845">
                      <a:moveTo>
                        <a:pt x="1076" y="598"/>
                      </a:moveTo>
                      <a:cubicBezTo>
                        <a:pt x="988" y="519"/>
                        <a:pt x="988" y="519"/>
                        <a:pt x="988" y="519"/>
                      </a:cubicBezTo>
                      <a:cubicBezTo>
                        <a:pt x="979" y="511"/>
                        <a:pt x="967" y="512"/>
                        <a:pt x="959" y="520"/>
                      </a:cubicBezTo>
                      <a:cubicBezTo>
                        <a:pt x="953" y="527"/>
                        <a:pt x="953" y="527"/>
                        <a:pt x="953" y="527"/>
                      </a:cubicBezTo>
                      <a:cubicBezTo>
                        <a:pt x="953" y="527"/>
                        <a:pt x="953" y="527"/>
                        <a:pt x="953" y="527"/>
                      </a:cubicBezTo>
                      <a:cubicBezTo>
                        <a:pt x="953" y="527"/>
                        <a:pt x="905" y="569"/>
                        <a:pt x="845" y="516"/>
                      </a:cubicBezTo>
                      <a:cubicBezTo>
                        <a:pt x="845" y="516"/>
                        <a:pt x="799" y="487"/>
                        <a:pt x="811" y="390"/>
                      </a:cubicBezTo>
                      <a:cubicBezTo>
                        <a:pt x="811" y="390"/>
                        <a:pt x="819" y="354"/>
                        <a:pt x="792" y="330"/>
                      </a:cubicBezTo>
                      <a:cubicBezTo>
                        <a:pt x="764" y="306"/>
                        <a:pt x="635" y="190"/>
                        <a:pt x="635" y="190"/>
                      </a:cubicBezTo>
                      <a:cubicBezTo>
                        <a:pt x="635" y="190"/>
                        <a:pt x="402" y="0"/>
                        <a:pt x="0" y="112"/>
                      </a:cubicBezTo>
                      <a:cubicBezTo>
                        <a:pt x="8" y="168"/>
                        <a:pt x="8" y="168"/>
                        <a:pt x="8" y="168"/>
                      </a:cubicBezTo>
                      <a:cubicBezTo>
                        <a:pt x="8" y="168"/>
                        <a:pt x="222" y="153"/>
                        <a:pt x="387" y="302"/>
                      </a:cubicBezTo>
                      <a:cubicBezTo>
                        <a:pt x="387" y="302"/>
                        <a:pt x="454" y="370"/>
                        <a:pt x="371" y="464"/>
                      </a:cubicBezTo>
                      <a:cubicBezTo>
                        <a:pt x="371" y="464"/>
                        <a:pt x="371" y="464"/>
                        <a:pt x="371" y="464"/>
                      </a:cubicBezTo>
                      <a:cubicBezTo>
                        <a:pt x="364" y="473"/>
                        <a:pt x="365" y="486"/>
                        <a:pt x="374" y="493"/>
                      </a:cubicBezTo>
                      <a:cubicBezTo>
                        <a:pt x="523" y="627"/>
                        <a:pt x="523" y="627"/>
                        <a:pt x="523" y="627"/>
                      </a:cubicBezTo>
                      <a:cubicBezTo>
                        <a:pt x="532" y="635"/>
                        <a:pt x="546" y="634"/>
                        <a:pt x="554" y="625"/>
                      </a:cubicBezTo>
                      <a:cubicBezTo>
                        <a:pt x="592" y="583"/>
                        <a:pt x="592" y="583"/>
                        <a:pt x="592" y="583"/>
                      </a:cubicBezTo>
                      <a:cubicBezTo>
                        <a:pt x="614" y="573"/>
                        <a:pt x="676" y="551"/>
                        <a:pt x="739" y="608"/>
                      </a:cubicBezTo>
                      <a:cubicBezTo>
                        <a:pt x="739" y="608"/>
                        <a:pt x="817" y="679"/>
                        <a:pt x="771" y="730"/>
                      </a:cubicBezTo>
                      <a:cubicBezTo>
                        <a:pt x="763" y="739"/>
                        <a:pt x="764" y="751"/>
                        <a:pt x="772" y="759"/>
                      </a:cubicBezTo>
                      <a:cubicBezTo>
                        <a:pt x="860" y="838"/>
                        <a:pt x="860" y="838"/>
                        <a:pt x="860" y="838"/>
                      </a:cubicBezTo>
                      <a:cubicBezTo>
                        <a:pt x="869" y="845"/>
                        <a:pt x="881" y="845"/>
                        <a:pt x="889" y="836"/>
                      </a:cubicBezTo>
                      <a:cubicBezTo>
                        <a:pt x="1077" y="626"/>
                        <a:pt x="1077" y="626"/>
                        <a:pt x="1077" y="626"/>
                      </a:cubicBezTo>
                      <a:cubicBezTo>
                        <a:pt x="1085" y="618"/>
                        <a:pt x="1084" y="605"/>
                        <a:pt x="1076" y="5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32" name="Freeform 6">
                  <a:extLst>
                    <a:ext uri="{FF2B5EF4-FFF2-40B4-BE49-F238E27FC236}">
                      <a16:creationId xmlns:a16="http://schemas.microsoft.com/office/drawing/2014/main" id="{1136E162-842E-473A-9B27-F07188482C2A}"/>
                    </a:ext>
                  </a:extLst>
                </p:cNvPr>
                <p:cNvSpPr>
                  <a:spLocks noEditPoints="1"/>
                </p:cNvSpPr>
                <p:nvPr/>
              </p:nvSpPr>
              <p:spPr bwMode="auto">
                <a:xfrm>
                  <a:off x="2328" y="1560"/>
                  <a:ext cx="1943" cy="2083"/>
                </a:xfrm>
                <a:custGeom>
                  <a:avLst/>
                  <a:gdLst>
                    <a:gd name="T0" fmla="*/ 876 w 1037"/>
                    <a:gd name="T1" fmla="*/ 318 h 1111"/>
                    <a:gd name="T2" fmla="*/ 862 w 1037"/>
                    <a:gd name="T3" fmla="*/ 318 h 1111"/>
                    <a:gd name="T4" fmla="*/ 723 w 1037"/>
                    <a:gd name="T5" fmla="*/ 193 h 1111"/>
                    <a:gd name="T6" fmla="*/ 721 w 1037"/>
                    <a:gd name="T7" fmla="*/ 179 h 1111"/>
                    <a:gd name="T8" fmla="*/ 879 w 1037"/>
                    <a:gd name="T9" fmla="*/ 3 h 1111"/>
                    <a:gd name="T10" fmla="*/ 892 w 1037"/>
                    <a:gd name="T11" fmla="*/ 3 h 1111"/>
                    <a:gd name="T12" fmla="*/ 1032 w 1037"/>
                    <a:gd name="T13" fmla="*/ 129 h 1111"/>
                    <a:gd name="T14" fmla="*/ 1033 w 1037"/>
                    <a:gd name="T15" fmla="*/ 142 h 1111"/>
                    <a:gd name="T16" fmla="*/ 876 w 1037"/>
                    <a:gd name="T17" fmla="*/ 318 h 1111"/>
                    <a:gd name="T18" fmla="*/ 237 w 1037"/>
                    <a:gd name="T19" fmla="*/ 1097 h 1111"/>
                    <a:gd name="T20" fmla="*/ 833 w 1037"/>
                    <a:gd name="T21" fmla="*/ 400 h 1111"/>
                    <a:gd name="T22" fmla="*/ 830 w 1037"/>
                    <a:gd name="T23" fmla="*/ 346 h 1111"/>
                    <a:gd name="T24" fmla="*/ 698 w 1037"/>
                    <a:gd name="T25" fmla="*/ 228 h 1111"/>
                    <a:gd name="T26" fmla="*/ 670 w 1037"/>
                    <a:gd name="T27" fmla="*/ 218 h 1111"/>
                    <a:gd name="T28" fmla="*/ 644 w 1037"/>
                    <a:gd name="T29" fmla="*/ 231 h 1111"/>
                    <a:gd name="T30" fmla="*/ 16 w 1037"/>
                    <a:gd name="T31" fmla="*/ 898 h 1111"/>
                    <a:gd name="T32" fmla="*/ 15 w 1037"/>
                    <a:gd name="T33" fmla="*/ 898 h 1111"/>
                    <a:gd name="T34" fmla="*/ 19 w 1037"/>
                    <a:gd name="T35" fmla="*/ 958 h 1111"/>
                    <a:gd name="T36" fmla="*/ 178 w 1037"/>
                    <a:gd name="T37" fmla="*/ 1101 h 1111"/>
                    <a:gd name="T38" fmla="*/ 206 w 1037"/>
                    <a:gd name="T39" fmla="*/ 1111 h 1111"/>
                    <a:gd name="T40" fmla="*/ 237 w 1037"/>
                    <a:gd name="T41" fmla="*/ 1097 h 1111"/>
                    <a:gd name="T42" fmla="*/ 673 w 1037"/>
                    <a:gd name="T43" fmla="*/ 264 h 1111"/>
                    <a:gd name="T44" fmla="*/ 797 w 1037"/>
                    <a:gd name="T45" fmla="*/ 375 h 1111"/>
                    <a:gd name="T46" fmla="*/ 206 w 1037"/>
                    <a:gd name="T47" fmla="*/ 1067 h 1111"/>
                    <a:gd name="T48" fmla="*/ 49 w 1037"/>
                    <a:gd name="T49" fmla="*/ 926 h 1111"/>
                    <a:gd name="T50" fmla="*/ 673 w 1037"/>
                    <a:gd name="T51" fmla="*/ 264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37" h="1111">
                      <a:moveTo>
                        <a:pt x="876" y="318"/>
                      </a:moveTo>
                      <a:cubicBezTo>
                        <a:pt x="872" y="322"/>
                        <a:pt x="866" y="321"/>
                        <a:pt x="862" y="318"/>
                      </a:cubicBezTo>
                      <a:cubicBezTo>
                        <a:pt x="723" y="193"/>
                        <a:pt x="723" y="193"/>
                        <a:pt x="723" y="193"/>
                      </a:cubicBezTo>
                      <a:cubicBezTo>
                        <a:pt x="719" y="189"/>
                        <a:pt x="718" y="183"/>
                        <a:pt x="721" y="179"/>
                      </a:cubicBezTo>
                      <a:cubicBezTo>
                        <a:pt x="879" y="3"/>
                        <a:pt x="879" y="3"/>
                        <a:pt x="879" y="3"/>
                      </a:cubicBezTo>
                      <a:cubicBezTo>
                        <a:pt x="882" y="0"/>
                        <a:pt x="888" y="0"/>
                        <a:pt x="892" y="3"/>
                      </a:cubicBezTo>
                      <a:cubicBezTo>
                        <a:pt x="1032" y="129"/>
                        <a:pt x="1032" y="129"/>
                        <a:pt x="1032" y="129"/>
                      </a:cubicBezTo>
                      <a:cubicBezTo>
                        <a:pt x="1036" y="132"/>
                        <a:pt x="1037" y="138"/>
                        <a:pt x="1033" y="142"/>
                      </a:cubicBezTo>
                      <a:lnTo>
                        <a:pt x="876" y="318"/>
                      </a:lnTo>
                      <a:close/>
                      <a:moveTo>
                        <a:pt x="237" y="1097"/>
                      </a:moveTo>
                      <a:cubicBezTo>
                        <a:pt x="833" y="400"/>
                        <a:pt x="833" y="400"/>
                        <a:pt x="833" y="400"/>
                      </a:cubicBezTo>
                      <a:cubicBezTo>
                        <a:pt x="847" y="384"/>
                        <a:pt x="846" y="360"/>
                        <a:pt x="830" y="346"/>
                      </a:cubicBezTo>
                      <a:cubicBezTo>
                        <a:pt x="698" y="228"/>
                        <a:pt x="698" y="228"/>
                        <a:pt x="698" y="228"/>
                      </a:cubicBezTo>
                      <a:cubicBezTo>
                        <a:pt x="691" y="221"/>
                        <a:pt x="681" y="217"/>
                        <a:pt x="670" y="218"/>
                      </a:cubicBezTo>
                      <a:cubicBezTo>
                        <a:pt x="660" y="219"/>
                        <a:pt x="651" y="223"/>
                        <a:pt x="644" y="231"/>
                      </a:cubicBezTo>
                      <a:cubicBezTo>
                        <a:pt x="16" y="898"/>
                        <a:pt x="16" y="898"/>
                        <a:pt x="16" y="898"/>
                      </a:cubicBezTo>
                      <a:cubicBezTo>
                        <a:pt x="15" y="898"/>
                        <a:pt x="15" y="898"/>
                        <a:pt x="15" y="898"/>
                      </a:cubicBezTo>
                      <a:cubicBezTo>
                        <a:pt x="0" y="916"/>
                        <a:pt x="1" y="942"/>
                        <a:pt x="19" y="958"/>
                      </a:cubicBezTo>
                      <a:cubicBezTo>
                        <a:pt x="178" y="1101"/>
                        <a:pt x="178" y="1101"/>
                        <a:pt x="178" y="1101"/>
                      </a:cubicBezTo>
                      <a:cubicBezTo>
                        <a:pt x="186" y="1108"/>
                        <a:pt x="196" y="1111"/>
                        <a:pt x="206" y="1111"/>
                      </a:cubicBezTo>
                      <a:cubicBezTo>
                        <a:pt x="217" y="1111"/>
                        <a:pt x="229" y="1107"/>
                        <a:pt x="237" y="1097"/>
                      </a:cubicBezTo>
                      <a:close/>
                      <a:moveTo>
                        <a:pt x="673" y="264"/>
                      </a:moveTo>
                      <a:cubicBezTo>
                        <a:pt x="797" y="375"/>
                        <a:pt x="797" y="375"/>
                        <a:pt x="797" y="375"/>
                      </a:cubicBezTo>
                      <a:cubicBezTo>
                        <a:pt x="206" y="1067"/>
                        <a:pt x="206" y="1067"/>
                        <a:pt x="206" y="1067"/>
                      </a:cubicBezTo>
                      <a:cubicBezTo>
                        <a:pt x="49" y="926"/>
                        <a:pt x="49" y="926"/>
                        <a:pt x="49" y="926"/>
                      </a:cubicBezTo>
                      <a:lnTo>
                        <a:pt x="673" y="2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nvGrpSpPr>
              <p:cNvPr id="41" name="bcgIcons_House">
                <a:extLst>
                  <a:ext uri="{FF2B5EF4-FFF2-40B4-BE49-F238E27FC236}">
                    <a16:creationId xmlns:a16="http://schemas.microsoft.com/office/drawing/2014/main" id="{D8294831-59F2-4C7B-9C83-F267073BE748}"/>
                  </a:ext>
                </a:extLst>
              </p:cNvPr>
              <p:cNvGrpSpPr>
                <a:grpSpLocks noChangeAspect="1"/>
              </p:cNvGrpSpPr>
              <p:nvPr/>
            </p:nvGrpSpPr>
            <p:grpSpPr bwMode="auto">
              <a:xfrm>
                <a:off x="2351584" y="2870061"/>
                <a:ext cx="1644396" cy="1645920"/>
                <a:chOff x="1682" y="0"/>
                <a:chExt cx="4316" cy="4320"/>
              </a:xfrm>
            </p:grpSpPr>
            <p:sp>
              <p:nvSpPr>
                <p:cNvPr id="42" name="AutoShape 38">
                  <a:extLst>
                    <a:ext uri="{FF2B5EF4-FFF2-40B4-BE49-F238E27FC236}">
                      <a16:creationId xmlns:a16="http://schemas.microsoft.com/office/drawing/2014/main" id="{88640B61-8339-4910-8759-D11C5FCF2EB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40">
                  <a:extLst>
                    <a:ext uri="{FF2B5EF4-FFF2-40B4-BE49-F238E27FC236}">
                      <a16:creationId xmlns:a16="http://schemas.microsoft.com/office/drawing/2014/main" id="{01607810-7E6D-44E9-9333-7BC7B94D46BD}"/>
                    </a:ext>
                  </a:extLst>
                </p:cNvPr>
                <p:cNvSpPr>
                  <a:spLocks noEditPoints="1"/>
                </p:cNvSpPr>
                <p:nvPr/>
              </p:nvSpPr>
              <p:spPr bwMode="auto">
                <a:xfrm>
                  <a:off x="2399" y="585"/>
                  <a:ext cx="2882" cy="2777"/>
                </a:xfrm>
                <a:custGeom>
                  <a:avLst/>
                  <a:gdLst>
                    <a:gd name="T0" fmla="*/ 1538 w 1538"/>
                    <a:gd name="T1" fmla="*/ 666 h 1481"/>
                    <a:gd name="T2" fmla="*/ 1538 w 1538"/>
                    <a:gd name="T3" fmla="*/ 817 h 1481"/>
                    <a:gd name="T4" fmla="*/ 1522 w 1538"/>
                    <a:gd name="T5" fmla="*/ 825 h 1481"/>
                    <a:gd name="T6" fmla="*/ 776 w 1538"/>
                    <a:gd name="T7" fmla="*/ 181 h 1481"/>
                    <a:gd name="T8" fmla="*/ 762 w 1538"/>
                    <a:gd name="T9" fmla="*/ 181 h 1481"/>
                    <a:gd name="T10" fmla="*/ 16 w 1538"/>
                    <a:gd name="T11" fmla="*/ 825 h 1481"/>
                    <a:gd name="T12" fmla="*/ 0 w 1538"/>
                    <a:gd name="T13" fmla="*/ 817 h 1481"/>
                    <a:gd name="T14" fmla="*/ 0 w 1538"/>
                    <a:gd name="T15" fmla="*/ 666 h 1481"/>
                    <a:gd name="T16" fmla="*/ 3 w 1538"/>
                    <a:gd name="T17" fmla="*/ 658 h 1481"/>
                    <a:gd name="T18" fmla="*/ 762 w 1538"/>
                    <a:gd name="T19" fmla="*/ 3 h 1481"/>
                    <a:gd name="T20" fmla="*/ 776 w 1538"/>
                    <a:gd name="T21" fmla="*/ 3 h 1481"/>
                    <a:gd name="T22" fmla="*/ 1535 w 1538"/>
                    <a:gd name="T23" fmla="*/ 658 h 1481"/>
                    <a:gd name="T24" fmla="*/ 1538 w 1538"/>
                    <a:gd name="T25" fmla="*/ 666 h 1481"/>
                    <a:gd name="T26" fmla="*/ 1096 w 1538"/>
                    <a:gd name="T27" fmla="*/ 1470 h 1481"/>
                    <a:gd name="T28" fmla="*/ 1096 w 1538"/>
                    <a:gd name="T29" fmla="*/ 1001 h 1481"/>
                    <a:gd name="T30" fmla="*/ 1086 w 1538"/>
                    <a:gd name="T31" fmla="*/ 990 h 1481"/>
                    <a:gd name="T32" fmla="*/ 861 w 1538"/>
                    <a:gd name="T33" fmla="*/ 990 h 1481"/>
                    <a:gd name="T34" fmla="*/ 851 w 1538"/>
                    <a:gd name="T35" fmla="*/ 1001 h 1481"/>
                    <a:gd name="T36" fmla="*/ 851 w 1538"/>
                    <a:gd name="T37" fmla="*/ 1470 h 1481"/>
                    <a:gd name="T38" fmla="*/ 861 w 1538"/>
                    <a:gd name="T39" fmla="*/ 1481 h 1481"/>
                    <a:gd name="T40" fmla="*/ 1086 w 1538"/>
                    <a:gd name="T41" fmla="*/ 1481 h 1481"/>
                    <a:gd name="T42" fmla="*/ 1096 w 1538"/>
                    <a:gd name="T43" fmla="*/ 1470 h 1481"/>
                    <a:gd name="T44" fmla="*/ 687 w 1538"/>
                    <a:gd name="T45" fmla="*/ 1226 h 1481"/>
                    <a:gd name="T46" fmla="*/ 687 w 1538"/>
                    <a:gd name="T47" fmla="*/ 1000 h 1481"/>
                    <a:gd name="T48" fmla="*/ 677 w 1538"/>
                    <a:gd name="T49" fmla="*/ 990 h 1481"/>
                    <a:gd name="T50" fmla="*/ 452 w 1538"/>
                    <a:gd name="T51" fmla="*/ 990 h 1481"/>
                    <a:gd name="T52" fmla="*/ 442 w 1538"/>
                    <a:gd name="T53" fmla="*/ 1000 h 1481"/>
                    <a:gd name="T54" fmla="*/ 442 w 1538"/>
                    <a:gd name="T55" fmla="*/ 1226 h 1481"/>
                    <a:gd name="T56" fmla="*/ 452 w 1538"/>
                    <a:gd name="T57" fmla="*/ 1236 h 1481"/>
                    <a:gd name="T58" fmla="*/ 677 w 1538"/>
                    <a:gd name="T59" fmla="*/ 1236 h 1481"/>
                    <a:gd name="T60" fmla="*/ 687 w 1538"/>
                    <a:gd name="T61" fmla="*/ 1226 h 1481"/>
                    <a:gd name="T62" fmla="*/ 687 w 1538"/>
                    <a:gd name="T63" fmla="*/ 844 h 1481"/>
                    <a:gd name="T64" fmla="*/ 687 w 1538"/>
                    <a:gd name="T65" fmla="*/ 618 h 1481"/>
                    <a:gd name="T66" fmla="*/ 677 w 1538"/>
                    <a:gd name="T67" fmla="*/ 608 h 1481"/>
                    <a:gd name="T68" fmla="*/ 452 w 1538"/>
                    <a:gd name="T69" fmla="*/ 608 h 1481"/>
                    <a:gd name="T70" fmla="*/ 442 w 1538"/>
                    <a:gd name="T71" fmla="*/ 618 h 1481"/>
                    <a:gd name="T72" fmla="*/ 442 w 1538"/>
                    <a:gd name="T73" fmla="*/ 844 h 1481"/>
                    <a:gd name="T74" fmla="*/ 452 w 1538"/>
                    <a:gd name="T75" fmla="*/ 854 h 1481"/>
                    <a:gd name="T76" fmla="*/ 677 w 1538"/>
                    <a:gd name="T77" fmla="*/ 854 h 1481"/>
                    <a:gd name="T78" fmla="*/ 687 w 1538"/>
                    <a:gd name="T79" fmla="*/ 844 h 1481"/>
                    <a:gd name="T80" fmla="*/ 1096 w 1538"/>
                    <a:gd name="T81" fmla="*/ 844 h 1481"/>
                    <a:gd name="T82" fmla="*/ 1096 w 1538"/>
                    <a:gd name="T83" fmla="*/ 618 h 1481"/>
                    <a:gd name="T84" fmla="*/ 1086 w 1538"/>
                    <a:gd name="T85" fmla="*/ 608 h 1481"/>
                    <a:gd name="T86" fmla="*/ 861 w 1538"/>
                    <a:gd name="T87" fmla="*/ 608 h 1481"/>
                    <a:gd name="T88" fmla="*/ 851 w 1538"/>
                    <a:gd name="T89" fmla="*/ 618 h 1481"/>
                    <a:gd name="T90" fmla="*/ 851 w 1538"/>
                    <a:gd name="T91" fmla="*/ 844 h 1481"/>
                    <a:gd name="T92" fmla="*/ 861 w 1538"/>
                    <a:gd name="T93" fmla="*/ 854 h 1481"/>
                    <a:gd name="T94" fmla="*/ 1086 w 1538"/>
                    <a:gd name="T95" fmla="*/ 854 h 1481"/>
                    <a:gd name="T96" fmla="*/ 1096 w 1538"/>
                    <a:gd name="T97" fmla="*/ 844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481">
                      <a:moveTo>
                        <a:pt x="1538" y="666"/>
                      </a:moveTo>
                      <a:cubicBezTo>
                        <a:pt x="1538" y="817"/>
                        <a:pt x="1538" y="817"/>
                        <a:pt x="1538" y="817"/>
                      </a:cubicBezTo>
                      <a:cubicBezTo>
                        <a:pt x="1538" y="826"/>
                        <a:pt x="1528" y="830"/>
                        <a:pt x="1522" y="825"/>
                      </a:cubicBezTo>
                      <a:cubicBezTo>
                        <a:pt x="776" y="181"/>
                        <a:pt x="776" y="181"/>
                        <a:pt x="776" y="181"/>
                      </a:cubicBezTo>
                      <a:cubicBezTo>
                        <a:pt x="772" y="177"/>
                        <a:pt x="766" y="177"/>
                        <a:pt x="762" y="181"/>
                      </a:cubicBezTo>
                      <a:cubicBezTo>
                        <a:pt x="16" y="825"/>
                        <a:pt x="16" y="825"/>
                        <a:pt x="16" y="825"/>
                      </a:cubicBezTo>
                      <a:cubicBezTo>
                        <a:pt x="10" y="830"/>
                        <a:pt x="0" y="826"/>
                        <a:pt x="0" y="817"/>
                      </a:cubicBezTo>
                      <a:cubicBezTo>
                        <a:pt x="0" y="666"/>
                        <a:pt x="0" y="666"/>
                        <a:pt x="0" y="666"/>
                      </a:cubicBezTo>
                      <a:cubicBezTo>
                        <a:pt x="0" y="663"/>
                        <a:pt x="1" y="660"/>
                        <a:pt x="3" y="658"/>
                      </a:cubicBezTo>
                      <a:cubicBezTo>
                        <a:pt x="762" y="3"/>
                        <a:pt x="762" y="3"/>
                        <a:pt x="762" y="3"/>
                      </a:cubicBezTo>
                      <a:cubicBezTo>
                        <a:pt x="766" y="0"/>
                        <a:pt x="772" y="0"/>
                        <a:pt x="776" y="3"/>
                      </a:cubicBezTo>
                      <a:cubicBezTo>
                        <a:pt x="1535" y="658"/>
                        <a:pt x="1535" y="658"/>
                        <a:pt x="1535" y="658"/>
                      </a:cubicBezTo>
                      <a:cubicBezTo>
                        <a:pt x="1537" y="660"/>
                        <a:pt x="1538" y="663"/>
                        <a:pt x="1538" y="666"/>
                      </a:cubicBezTo>
                      <a:close/>
                      <a:moveTo>
                        <a:pt x="1096" y="1470"/>
                      </a:moveTo>
                      <a:cubicBezTo>
                        <a:pt x="1096" y="1001"/>
                        <a:pt x="1096" y="1001"/>
                        <a:pt x="1096" y="1001"/>
                      </a:cubicBezTo>
                      <a:cubicBezTo>
                        <a:pt x="1096" y="995"/>
                        <a:pt x="1092" y="990"/>
                        <a:pt x="1086" y="990"/>
                      </a:cubicBezTo>
                      <a:cubicBezTo>
                        <a:pt x="861" y="990"/>
                        <a:pt x="861" y="990"/>
                        <a:pt x="861" y="990"/>
                      </a:cubicBezTo>
                      <a:cubicBezTo>
                        <a:pt x="856" y="990"/>
                        <a:pt x="851" y="995"/>
                        <a:pt x="851" y="1001"/>
                      </a:cubicBezTo>
                      <a:cubicBezTo>
                        <a:pt x="851" y="1470"/>
                        <a:pt x="851" y="1470"/>
                        <a:pt x="851" y="1470"/>
                      </a:cubicBezTo>
                      <a:cubicBezTo>
                        <a:pt x="851" y="1476"/>
                        <a:pt x="856" y="1481"/>
                        <a:pt x="861" y="1481"/>
                      </a:cubicBezTo>
                      <a:cubicBezTo>
                        <a:pt x="1086" y="1481"/>
                        <a:pt x="1086" y="1481"/>
                        <a:pt x="1086" y="1481"/>
                      </a:cubicBezTo>
                      <a:cubicBezTo>
                        <a:pt x="1092" y="1481"/>
                        <a:pt x="1096" y="1476"/>
                        <a:pt x="1096" y="1470"/>
                      </a:cubicBezTo>
                      <a:close/>
                      <a:moveTo>
                        <a:pt x="687" y="1226"/>
                      </a:moveTo>
                      <a:cubicBezTo>
                        <a:pt x="687" y="1000"/>
                        <a:pt x="687" y="1000"/>
                        <a:pt x="687" y="1000"/>
                      </a:cubicBezTo>
                      <a:cubicBezTo>
                        <a:pt x="687" y="995"/>
                        <a:pt x="682" y="990"/>
                        <a:pt x="677" y="990"/>
                      </a:cubicBezTo>
                      <a:cubicBezTo>
                        <a:pt x="452" y="990"/>
                        <a:pt x="452" y="990"/>
                        <a:pt x="452" y="990"/>
                      </a:cubicBezTo>
                      <a:cubicBezTo>
                        <a:pt x="446" y="990"/>
                        <a:pt x="442" y="995"/>
                        <a:pt x="442" y="1000"/>
                      </a:cubicBezTo>
                      <a:cubicBezTo>
                        <a:pt x="442" y="1226"/>
                        <a:pt x="442" y="1226"/>
                        <a:pt x="442" y="1226"/>
                      </a:cubicBezTo>
                      <a:cubicBezTo>
                        <a:pt x="442" y="1231"/>
                        <a:pt x="446" y="1236"/>
                        <a:pt x="452" y="1236"/>
                      </a:cubicBezTo>
                      <a:cubicBezTo>
                        <a:pt x="677" y="1236"/>
                        <a:pt x="677" y="1236"/>
                        <a:pt x="677" y="1236"/>
                      </a:cubicBezTo>
                      <a:cubicBezTo>
                        <a:pt x="682" y="1236"/>
                        <a:pt x="687" y="1231"/>
                        <a:pt x="687" y="1226"/>
                      </a:cubicBezTo>
                      <a:close/>
                      <a:moveTo>
                        <a:pt x="687" y="844"/>
                      </a:moveTo>
                      <a:cubicBezTo>
                        <a:pt x="687" y="618"/>
                        <a:pt x="687" y="618"/>
                        <a:pt x="687" y="618"/>
                      </a:cubicBezTo>
                      <a:cubicBezTo>
                        <a:pt x="687" y="613"/>
                        <a:pt x="682" y="608"/>
                        <a:pt x="677" y="608"/>
                      </a:cubicBezTo>
                      <a:cubicBezTo>
                        <a:pt x="452" y="608"/>
                        <a:pt x="452" y="608"/>
                        <a:pt x="452" y="608"/>
                      </a:cubicBezTo>
                      <a:cubicBezTo>
                        <a:pt x="446" y="608"/>
                        <a:pt x="442" y="613"/>
                        <a:pt x="442" y="618"/>
                      </a:cubicBezTo>
                      <a:cubicBezTo>
                        <a:pt x="442" y="844"/>
                        <a:pt x="442" y="844"/>
                        <a:pt x="442" y="844"/>
                      </a:cubicBezTo>
                      <a:cubicBezTo>
                        <a:pt x="442" y="849"/>
                        <a:pt x="446" y="854"/>
                        <a:pt x="452" y="854"/>
                      </a:cubicBezTo>
                      <a:cubicBezTo>
                        <a:pt x="677" y="854"/>
                        <a:pt x="677" y="854"/>
                        <a:pt x="677" y="854"/>
                      </a:cubicBezTo>
                      <a:cubicBezTo>
                        <a:pt x="682" y="854"/>
                        <a:pt x="687" y="849"/>
                        <a:pt x="687" y="844"/>
                      </a:cubicBezTo>
                      <a:close/>
                      <a:moveTo>
                        <a:pt x="1096" y="844"/>
                      </a:moveTo>
                      <a:cubicBezTo>
                        <a:pt x="1096" y="618"/>
                        <a:pt x="1096" y="618"/>
                        <a:pt x="1096" y="618"/>
                      </a:cubicBezTo>
                      <a:cubicBezTo>
                        <a:pt x="1096" y="613"/>
                        <a:pt x="1092" y="608"/>
                        <a:pt x="1086" y="608"/>
                      </a:cubicBezTo>
                      <a:cubicBezTo>
                        <a:pt x="861" y="608"/>
                        <a:pt x="861" y="608"/>
                        <a:pt x="861" y="608"/>
                      </a:cubicBezTo>
                      <a:cubicBezTo>
                        <a:pt x="856" y="608"/>
                        <a:pt x="851" y="613"/>
                        <a:pt x="851" y="618"/>
                      </a:cubicBezTo>
                      <a:cubicBezTo>
                        <a:pt x="851" y="844"/>
                        <a:pt x="851" y="844"/>
                        <a:pt x="851" y="844"/>
                      </a:cubicBezTo>
                      <a:cubicBezTo>
                        <a:pt x="851" y="849"/>
                        <a:pt x="856" y="854"/>
                        <a:pt x="861" y="854"/>
                      </a:cubicBezTo>
                      <a:cubicBezTo>
                        <a:pt x="1086" y="854"/>
                        <a:pt x="1086" y="854"/>
                        <a:pt x="1086" y="854"/>
                      </a:cubicBezTo>
                      <a:cubicBezTo>
                        <a:pt x="1092" y="854"/>
                        <a:pt x="1096" y="849"/>
                        <a:pt x="1096" y="8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41">
                  <a:extLst>
                    <a:ext uri="{FF2B5EF4-FFF2-40B4-BE49-F238E27FC236}">
                      <a16:creationId xmlns:a16="http://schemas.microsoft.com/office/drawing/2014/main" id="{693E880B-40EA-4D74-AAF1-77FA9A72B410}"/>
                    </a:ext>
                  </a:extLst>
                </p:cNvPr>
                <p:cNvSpPr>
                  <a:spLocks noEditPoints="1"/>
                </p:cNvSpPr>
                <p:nvPr/>
              </p:nvSpPr>
              <p:spPr bwMode="auto">
                <a:xfrm>
                  <a:off x="2268" y="793"/>
                  <a:ext cx="3144" cy="3079"/>
                </a:xfrm>
                <a:custGeom>
                  <a:avLst/>
                  <a:gdLst>
                    <a:gd name="T0" fmla="*/ 1656 w 1678"/>
                    <a:gd name="T1" fmla="*/ 1480 h 1642"/>
                    <a:gd name="T2" fmla="*/ 1568 w 1678"/>
                    <a:gd name="T3" fmla="*/ 1480 h 1642"/>
                    <a:gd name="T4" fmla="*/ 1568 w 1678"/>
                    <a:gd name="T5" fmla="*/ 1436 h 1642"/>
                    <a:gd name="T6" fmla="*/ 1546 w 1678"/>
                    <a:gd name="T7" fmla="*/ 1414 h 1642"/>
                    <a:gd name="T8" fmla="*/ 132 w 1678"/>
                    <a:gd name="T9" fmla="*/ 1414 h 1642"/>
                    <a:gd name="T10" fmla="*/ 110 w 1678"/>
                    <a:gd name="T11" fmla="*/ 1436 h 1642"/>
                    <a:gd name="T12" fmla="*/ 110 w 1678"/>
                    <a:gd name="T13" fmla="*/ 1480 h 1642"/>
                    <a:gd name="T14" fmla="*/ 22 w 1678"/>
                    <a:gd name="T15" fmla="*/ 1480 h 1642"/>
                    <a:gd name="T16" fmla="*/ 0 w 1678"/>
                    <a:gd name="T17" fmla="*/ 1502 h 1642"/>
                    <a:gd name="T18" fmla="*/ 0 w 1678"/>
                    <a:gd name="T19" fmla="*/ 1620 h 1642"/>
                    <a:gd name="T20" fmla="*/ 22 w 1678"/>
                    <a:gd name="T21" fmla="*/ 1642 h 1642"/>
                    <a:gd name="T22" fmla="*/ 1656 w 1678"/>
                    <a:gd name="T23" fmla="*/ 1642 h 1642"/>
                    <a:gd name="T24" fmla="*/ 1678 w 1678"/>
                    <a:gd name="T25" fmla="*/ 1620 h 1642"/>
                    <a:gd name="T26" fmla="*/ 1678 w 1678"/>
                    <a:gd name="T27" fmla="*/ 1502 h 1642"/>
                    <a:gd name="T28" fmla="*/ 1656 w 1678"/>
                    <a:gd name="T29" fmla="*/ 1480 h 1642"/>
                    <a:gd name="T30" fmla="*/ 273 w 1678"/>
                    <a:gd name="T31" fmla="*/ 610 h 1642"/>
                    <a:gd name="T32" fmla="*/ 273 w 1678"/>
                    <a:gd name="T33" fmla="*/ 1370 h 1642"/>
                    <a:gd name="T34" fmla="*/ 229 w 1678"/>
                    <a:gd name="T35" fmla="*/ 1370 h 1642"/>
                    <a:gd name="T36" fmla="*/ 229 w 1678"/>
                    <a:gd name="T37" fmla="*/ 648 h 1642"/>
                    <a:gd name="T38" fmla="*/ 273 w 1678"/>
                    <a:gd name="T39" fmla="*/ 610 h 1642"/>
                    <a:gd name="T40" fmla="*/ 1449 w 1678"/>
                    <a:gd name="T41" fmla="*/ 648 h 1642"/>
                    <a:gd name="T42" fmla="*/ 1449 w 1678"/>
                    <a:gd name="T43" fmla="*/ 1370 h 1642"/>
                    <a:gd name="T44" fmla="*/ 1405 w 1678"/>
                    <a:gd name="T45" fmla="*/ 1370 h 1642"/>
                    <a:gd name="T46" fmla="*/ 1405 w 1678"/>
                    <a:gd name="T47" fmla="*/ 610 h 1642"/>
                    <a:gd name="T48" fmla="*/ 1449 w 1678"/>
                    <a:gd name="T49" fmla="*/ 648 h 1642"/>
                    <a:gd name="T50" fmla="*/ 371 w 1678"/>
                    <a:gd name="T51" fmla="*/ 232 h 1642"/>
                    <a:gd name="T52" fmla="*/ 371 w 1678"/>
                    <a:gd name="T53" fmla="*/ 10 h 1642"/>
                    <a:gd name="T54" fmla="*/ 381 w 1678"/>
                    <a:gd name="T55" fmla="*/ 0 h 1642"/>
                    <a:gd name="T56" fmla="*/ 505 w 1678"/>
                    <a:gd name="T57" fmla="*/ 0 h 1642"/>
                    <a:gd name="T58" fmla="*/ 515 w 1678"/>
                    <a:gd name="T59" fmla="*/ 10 h 1642"/>
                    <a:gd name="T60" fmla="*/ 515 w 1678"/>
                    <a:gd name="T61" fmla="*/ 108 h 1642"/>
                    <a:gd name="T62" fmla="*/ 371 w 1678"/>
                    <a:gd name="T63" fmla="*/ 232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78" h="1642">
                      <a:moveTo>
                        <a:pt x="1656" y="1480"/>
                      </a:moveTo>
                      <a:cubicBezTo>
                        <a:pt x="1568" y="1480"/>
                        <a:pt x="1568" y="1480"/>
                        <a:pt x="1568" y="1480"/>
                      </a:cubicBezTo>
                      <a:cubicBezTo>
                        <a:pt x="1568" y="1436"/>
                        <a:pt x="1568" y="1436"/>
                        <a:pt x="1568" y="1436"/>
                      </a:cubicBezTo>
                      <a:cubicBezTo>
                        <a:pt x="1568" y="1424"/>
                        <a:pt x="1558" y="1414"/>
                        <a:pt x="1546" y="1414"/>
                      </a:cubicBezTo>
                      <a:cubicBezTo>
                        <a:pt x="132" y="1414"/>
                        <a:pt x="132" y="1414"/>
                        <a:pt x="132" y="1414"/>
                      </a:cubicBezTo>
                      <a:cubicBezTo>
                        <a:pt x="120" y="1414"/>
                        <a:pt x="110" y="1424"/>
                        <a:pt x="110" y="1436"/>
                      </a:cubicBezTo>
                      <a:cubicBezTo>
                        <a:pt x="110" y="1480"/>
                        <a:pt x="110" y="1480"/>
                        <a:pt x="110" y="1480"/>
                      </a:cubicBezTo>
                      <a:cubicBezTo>
                        <a:pt x="22" y="1480"/>
                        <a:pt x="22" y="1480"/>
                        <a:pt x="22" y="1480"/>
                      </a:cubicBezTo>
                      <a:cubicBezTo>
                        <a:pt x="10" y="1480"/>
                        <a:pt x="0" y="1490"/>
                        <a:pt x="0" y="1502"/>
                      </a:cubicBezTo>
                      <a:cubicBezTo>
                        <a:pt x="0" y="1620"/>
                        <a:pt x="0" y="1620"/>
                        <a:pt x="0" y="1620"/>
                      </a:cubicBezTo>
                      <a:cubicBezTo>
                        <a:pt x="0" y="1632"/>
                        <a:pt x="10" y="1642"/>
                        <a:pt x="22" y="1642"/>
                      </a:cubicBezTo>
                      <a:cubicBezTo>
                        <a:pt x="1656" y="1642"/>
                        <a:pt x="1656" y="1642"/>
                        <a:pt x="1656" y="1642"/>
                      </a:cubicBezTo>
                      <a:cubicBezTo>
                        <a:pt x="1668" y="1642"/>
                        <a:pt x="1678" y="1632"/>
                        <a:pt x="1678" y="1620"/>
                      </a:cubicBezTo>
                      <a:cubicBezTo>
                        <a:pt x="1678" y="1502"/>
                        <a:pt x="1678" y="1502"/>
                        <a:pt x="1678" y="1502"/>
                      </a:cubicBezTo>
                      <a:cubicBezTo>
                        <a:pt x="1678" y="1490"/>
                        <a:pt x="1668" y="1480"/>
                        <a:pt x="1656" y="1480"/>
                      </a:cubicBezTo>
                      <a:close/>
                      <a:moveTo>
                        <a:pt x="273" y="610"/>
                      </a:moveTo>
                      <a:cubicBezTo>
                        <a:pt x="273" y="1370"/>
                        <a:pt x="273" y="1370"/>
                        <a:pt x="273" y="1370"/>
                      </a:cubicBezTo>
                      <a:cubicBezTo>
                        <a:pt x="229" y="1370"/>
                        <a:pt x="229" y="1370"/>
                        <a:pt x="229" y="1370"/>
                      </a:cubicBezTo>
                      <a:cubicBezTo>
                        <a:pt x="229" y="648"/>
                        <a:pt x="229" y="648"/>
                        <a:pt x="229" y="648"/>
                      </a:cubicBezTo>
                      <a:lnTo>
                        <a:pt x="273" y="610"/>
                      </a:lnTo>
                      <a:close/>
                      <a:moveTo>
                        <a:pt x="1449" y="648"/>
                      </a:moveTo>
                      <a:cubicBezTo>
                        <a:pt x="1449" y="1370"/>
                        <a:pt x="1449" y="1370"/>
                        <a:pt x="1449" y="1370"/>
                      </a:cubicBezTo>
                      <a:cubicBezTo>
                        <a:pt x="1405" y="1370"/>
                        <a:pt x="1405" y="1370"/>
                        <a:pt x="1405" y="1370"/>
                      </a:cubicBezTo>
                      <a:cubicBezTo>
                        <a:pt x="1405" y="610"/>
                        <a:pt x="1405" y="610"/>
                        <a:pt x="1405" y="610"/>
                      </a:cubicBezTo>
                      <a:lnTo>
                        <a:pt x="1449" y="648"/>
                      </a:lnTo>
                      <a:close/>
                      <a:moveTo>
                        <a:pt x="371" y="232"/>
                      </a:moveTo>
                      <a:cubicBezTo>
                        <a:pt x="371" y="10"/>
                        <a:pt x="371" y="10"/>
                        <a:pt x="371" y="10"/>
                      </a:cubicBezTo>
                      <a:cubicBezTo>
                        <a:pt x="371" y="4"/>
                        <a:pt x="375" y="0"/>
                        <a:pt x="381" y="0"/>
                      </a:cubicBezTo>
                      <a:cubicBezTo>
                        <a:pt x="505" y="0"/>
                        <a:pt x="505" y="0"/>
                        <a:pt x="505" y="0"/>
                      </a:cubicBezTo>
                      <a:cubicBezTo>
                        <a:pt x="511" y="0"/>
                        <a:pt x="515" y="4"/>
                        <a:pt x="515" y="10"/>
                      </a:cubicBezTo>
                      <a:cubicBezTo>
                        <a:pt x="515" y="108"/>
                        <a:pt x="515" y="108"/>
                        <a:pt x="515" y="108"/>
                      </a:cubicBezTo>
                      <a:lnTo>
                        <a:pt x="371" y="2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sp>
        <p:nvSpPr>
          <p:cNvPr id="3" name="Title 2">
            <a:extLst>
              <a:ext uri="{FF2B5EF4-FFF2-40B4-BE49-F238E27FC236}">
                <a16:creationId xmlns:a16="http://schemas.microsoft.com/office/drawing/2014/main" id="{9787BB92-E1C1-4D95-BB4E-8B07FB41E7C6}"/>
              </a:ext>
            </a:extLst>
          </p:cNvPr>
          <p:cNvSpPr>
            <a:spLocks noGrp="1"/>
          </p:cNvSpPr>
          <p:nvPr>
            <p:ph type="title"/>
          </p:nvPr>
        </p:nvSpPr>
        <p:spPr>
          <a:xfrm>
            <a:off x="620364" y="586265"/>
            <a:ext cx="4403689" cy="854080"/>
          </a:xfrm>
        </p:spPr>
        <p:txBody>
          <a:bodyPr vert="horz"/>
          <a:lstStyle/>
          <a:p>
            <a:r>
              <a:rPr lang="cs-CZ" dirty="0" err="1"/>
              <a:t>Problem</a:t>
            </a:r>
            <a:endParaRPr lang="en-GB" dirty="0"/>
          </a:p>
        </p:txBody>
      </p:sp>
    </p:spTree>
    <p:extLst>
      <p:ext uri="{BB962C8B-B14F-4D97-AF65-F5344CB8AC3E}">
        <p14:creationId xmlns:p14="http://schemas.microsoft.com/office/powerpoint/2010/main" val="225681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EB5FEE-8E1F-4DEF-8382-632BD02164D0}"/>
              </a:ext>
            </a:extLst>
          </p:cNvPr>
          <p:cNvGraphicFramePr>
            <a:graphicFrameLocks noChangeAspect="1"/>
          </p:cNvGraphicFramePr>
          <p:nvPr>
            <p:custDataLst>
              <p:tags r:id="rId2"/>
            </p:custDataLst>
            <p:extLst>
              <p:ext uri="{D42A27DB-BD31-4B8C-83A1-F6EECF244321}">
                <p14:modId xmlns:p14="http://schemas.microsoft.com/office/powerpoint/2010/main" val="1253013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5" name="think-cell Slide" r:id="rId5" imgW="608" imgH="606" progId="TCLayout.ActiveDocument.1">
                  <p:embed/>
                </p:oleObj>
              </mc:Choice>
              <mc:Fallback>
                <p:oleObj name="think-cell Slide" r:id="rId5" imgW="608" imgH="606" progId="TCLayout.ActiveDocument.1">
                  <p:embed/>
                  <p:pic>
                    <p:nvPicPr>
                      <p:cNvPr id="3" name="Object 2" hidden="1">
                        <a:extLst>
                          <a:ext uri="{FF2B5EF4-FFF2-40B4-BE49-F238E27FC236}">
                            <a16:creationId xmlns:a16="http://schemas.microsoft.com/office/drawing/2014/main" id="{17EB5FEE-8E1F-4DEF-8382-632BD02164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7612C1-570E-48D0-81F5-B331DC52ECE3}"/>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en-GB"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a:extLst>
              <a:ext uri="{FF2B5EF4-FFF2-40B4-BE49-F238E27FC236}">
                <a16:creationId xmlns:a16="http://schemas.microsoft.com/office/drawing/2014/main" id="{AD6AFCCD-A164-4073-AD47-EB4CE4ADB8E5}"/>
              </a:ext>
            </a:extLst>
          </p:cNvPr>
          <p:cNvSpPr>
            <a:spLocks noGrp="1"/>
          </p:cNvSpPr>
          <p:nvPr>
            <p:ph type="title"/>
          </p:nvPr>
        </p:nvSpPr>
        <p:spPr>
          <a:xfrm>
            <a:off x="614083" y="1858942"/>
            <a:ext cx="4402991" cy="3063916"/>
          </a:xfrm>
        </p:spPr>
        <p:txBody>
          <a:bodyPr vert="horz"/>
          <a:lstStyle/>
          <a:p>
            <a:r>
              <a:rPr lang="cs-CZ" sz="4400" dirty="0" err="1"/>
              <a:t>We</a:t>
            </a:r>
            <a:r>
              <a:rPr lang="cs-CZ" sz="4400" dirty="0"/>
              <a:t> </a:t>
            </a:r>
            <a:r>
              <a:rPr lang="cs-CZ" sz="4400" dirty="0" err="1"/>
              <a:t>cannot</a:t>
            </a:r>
            <a:r>
              <a:rPr lang="cs-CZ" sz="4400" dirty="0"/>
              <a:t> </a:t>
            </a:r>
            <a:r>
              <a:rPr lang="cs-CZ" sz="4400" dirty="0" err="1"/>
              <a:t>solve</a:t>
            </a:r>
            <a:r>
              <a:rPr lang="cs-CZ" sz="4400" dirty="0"/>
              <a:t> </a:t>
            </a:r>
            <a:r>
              <a:rPr lang="cs-CZ" sz="4400" dirty="0" err="1"/>
              <a:t>the</a:t>
            </a:r>
            <a:r>
              <a:rPr lang="cs-CZ" sz="4400" dirty="0"/>
              <a:t> market...</a:t>
            </a:r>
            <a:br>
              <a:rPr lang="cs-CZ" sz="4400" dirty="0"/>
            </a:br>
            <a:br>
              <a:rPr lang="cs-CZ" sz="4400" dirty="0"/>
            </a:br>
            <a:r>
              <a:rPr lang="cs-CZ" sz="4400" dirty="0"/>
              <a:t>...but </a:t>
            </a:r>
            <a:r>
              <a:rPr lang="cs-CZ" sz="4400" dirty="0" err="1"/>
              <a:t>we</a:t>
            </a:r>
            <a:r>
              <a:rPr lang="cs-CZ" sz="4400" dirty="0"/>
              <a:t> </a:t>
            </a:r>
            <a:r>
              <a:rPr lang="cs-CZ" sz="4400" dirty="0" err="1"/>
              <a:t>can</a:t>
            </a:r>
            <a:r>
              <a:rPr lang="cs-CZ" sz="4400" dirty="0"/>
              <a:t> </a:t>
            </a:r>
            <a:r>
              <a:rPr lang="cs-CZ" sz="4400" dirty="0" err="1"/>
              <a:t>help</a:t>
            </a:r>
            <a:r>
              <a:rPr lang="cs-CZ" sz="4400" dirty="0"/>
              <a:t> </a:t>
            </a:r>
            <a:r>
              <a:rPr lang="cs-CZ" sz="4400" dirty="0" err="1"/>
              <a:t>individuals</a:t>
            </a:r>
            <a:endParaRPr lang="en-GB" sz="4400" dirty="0"/>
          </a:p>
        </p:txBody>
      </p:sp>
      <p:pic>
        <p:nvPicPr>
          <p:cNvPr id="15" name="Picture 14">
            <a:extLst>
              <a:ext uri="{FF2B5EF4-FFF2-40B4-BE49-F238E27FC236}">
                <a16:creationId xmlns:a16="http://schemas.microsoft.com/office/drawing/2014/main" id="{0472BB95-8BBB-4EEE-B5A0-DEF04CC10E28}"/>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742" b="19306"/>
          <a:stretch/>
        </p:blipFill>
        <p:spPr bwMode="auto">
          <a:xfrm>
            <a:off x="6092021" y="0"/>
            <a:ext cx="6099977" cy="6858000"/>
          </a:xfrm>
          <a:custGeom>
            <a:avLst/>
            <a:gdLst>
              <a:gd name="connsiteX0" fmla="*/ 0 w 6099977"/>
              <a:gd name="connsiteY0" fmla="*/ 0 h 6858000"/>
              <a:gd name="connsiteX1" fmla="*/ 6099977 w 6099977"/>
              <a:gd name="connsiteY1" fmla="*/ 0 h 6858000"/>
              <a:gd name="connsiteX2" fmla="*/ 6099977 w 6099977"/>
              <a:gd name="connsiteY2" fmla="*/ 6858000 h 6858000"/>
              <a:gd name="connsiteX3" fmla="*/ 0 w 609997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9977" h="6858000">
                <a:moveTo>
                  <a:pt x="0" y="0"/>
                </a:moveTo>
                <a:lnTo>
                  <a:pt x="6099977" y="0"/>
                </a:lnTo>
                <a:lnTo>
                  <a:pt x="6099977"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826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383A87-4355-46E2-B2D2-593352A9C08A}"/>
              </a:ext>
            </a:extLst>
          </p:cNvPr>
          <p:cNvGraphicFramePr>
            <a:graphicFrameLocks noChangeAspect="1"/>
          </p:cNvGraphicFramePr>
          <p:nvPr>
            <p:custDataLst>
              <p:tags r:id="rId2"/>
            </p:custDataLst>
            <p:extLst>
              <p:ext uri="{D42A27DB-BD31-4B8C-83A1-F6EECF244321}">
                <p14:modId xmlns:p14="http://schemas.microsoft.com/office/powerpoint/2010/main" val="2458089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1"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69383A87-4355-46E2-B2D2-593352A9C0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3" name="Group 32">
            <a:extLst>
              <a:ext uri="{FF2B5EF4-FFF2-40B4-BE49-F238E27FC236}">
                <a16:creationId xmlns:a16="http://schemas.microsoft.com/office/drawing/2014/main" id="{DB00FA05-C5F6-4D06-B898-26FB9FA033DB}"/>
              </a:ext>
            </a:extLst>
          </p:cNvPr>
          <p:cNvGrpSpPr/>
          <p:nvPr/>
        </p:nvGrpSpPr>
        <p:grpSpPr>
          <a:xfrm>
            <a:off x="4367808" y="2224886"/>
            <a:ext cx="3099930" cy="3651812"/>
            <a:chOff x="1186609" y="920554"/>
            <a:chExt cx="966811" cy="1138933"/>
          </a:xfrm>
          <a:solidFill>
            <a:schemeClr val="tx2"/>
          </a:solidFill>
        </p:grpSpPr>
        <p:sp>
          <p:nvSpPr>
            <p:cNvPr id="35" name="Freeform 4">
              <a:extLst>
                <a:ext uri="{FF2B5EF4-FFF2-40B4-BE49-F238E27FC236}">
                  <a16:creationId xmlns:a16="http://schemas.microsoft.com/office/drawing/2014/main" id="{E2AD7170-FAB0-45D5-8937-5AA8596360AF}"/>
                </a:ext>
              </a:extLst>
            </p:cNvPr>
            <p:cNvSpPr>
              <a:spLocks noEditPoints="1"/>
            </p:cNvSpPr>
            <p:nvPr/>
          </p:nvSpPr>
          <p:spPr bwMode="auto">
            <a:xfrm>
              <a:off x="1658728" y="1182306"/>
              <a:ext cx="385693" cy="403123"/>
            </a:xfrm>
            <a:custGeom>
              <a:avLst/>
              <a:gdLst>
                <a:gd name="T0" fmla="*/ 833 w 844"/>
                <a:gd name="T1" fmla="*/ 799 h 881"/>
                <a:gd name="T2" fmla="*/ 789 w 844"/>
                <a:gd name="T3" fmla="*/ 799 h 881"/>
                <a:gd name="T4" fmla="*/ 789 w 844"/>
                <a:gd name="T5" fmla="*/ 778 h 881"/>
                <a:gd name="T6" fmla="*/ 777 w 844"/>
                <a:gd name="T7" fmla="*/ 766 h 881"/>
                <a:gd name="T8" fmla="*/ 67 w 844"/>
                <a:gd name="T9" fmla="*/ 766 h 881"/>
                <a:gd name="T10" fmla="*/ 55 w 844"/>
                <a:gd name="T11" fmla="*/ 778 h 881"/>
                <a:gd name="T12" fmla="*/ 55 w 844"/>
                <a:gd name="T13" fmla="*/ 799 h 881"/>
                <a:gd name="T14" fmla="*/ 11 w 844"/>
                <a:gd name="T15" fmla="*/ 799 h 881"/>
                <a:gd name="T16" fmla="*/ 0 w 844"/>
                <a:gd name="T17" fmla="*/ 811 h 881"/>
                <a:gd name="T18" fmla="*/ 0 w 844"/>
                <a:gd name="T19" fmla="*/ 869 h 881"/>
                <a:gd name="T20" fmla="*/ 11 w 844"/>
                <a:gd name="T21" fmla="*/ 881 h 881"/>
                <a:gd name="T22" fmla="*/ 833 w 844"/>
                <a:gd name="T23" fmla="*/ 881 h 881"/>
                <a:gd name="T24" fmla="*/ 844 w 844"/>
                <a:gd name="T25" fmla="*/ 869 h 881"/>
                <a:gd name="T26" fmla="*/ 844 w 844"/>
                <a:gd name="T27" fmla="*/ 811 h 881"/>
                <a:gd name="T28" fmla="*/ 833 w 844"/>
                <a:gd name="T29" fmla="*/ 799 h 881"/>
                <a:gd name="T30" fmla="*/ 809 w 844"/>
                <a:gd name="T31" fmla="*/ 337 h 881"/>
                <a:gd name="T32" fmla="*/ 809 w 844"/>
                <a:gd name="T33" fmla="*/ 396 h 881"/>
                <a:gd name="T34" fmla="*/ 790 w 844"/>
                <a:gd name="T35" fmla="*/ 404 h 881"/>
                <a:gd name="T36" fmla="*/ 430 w 844"/>
                <a:gd name="T37" fmla="*/ 93 h 881"/>
                <a:gd name="T38" fmla="*/ 414 w 844"/>
                <a:gd name="T39" fmla="*/ 93 h 881"/>
                <a:gd name="T40" fmla="*/ 54 w 844"/>
                <a:gd name="T41" fmla="*/ 404 h 881"/>
                <a:gd name="T42" fmla="*/ 35 w 844"/>
                <a:gd name="T43" fmla="*/ 396 h 881"/>
                <a:gd name="T44" fmla="*/ 35 w 844"/>
                <a:gd name="T45" fmla="*/ 337 h 881"/>
                <a:gd name="T46" fmla="*/ 39 w 844"/>
                <a:gd name="T47" fmla="*/ 328 h 881"/>
                <a:gd name="T48" fmla="*/ 414 w 844"/>
                <a:gd name="T49" fmla="*/ 4 h 881"/>
                <a:gd name="T50" fmla="*/ 430 w 844"/>
                <a:gd name="T51" fmla="*/ 4 h 881"/>
                <a:gd name="T52" fmla="*/ 805 w 844"/>
                <a:gd name="T53" fmla="*/ 328 h 881"/>
                <a:gd name="T54" fmla="*/ 809 w 844"/>
                <a:gd name="T55" fmla="*/ 337 h 881"/>
                <a:gd name="T56" fmla="*/ 187 w 844"/>
                <a:gd name="T57" fmla="*/ 133 h 881"/>
                <a:gd name="T58" fmla="*/ 187 w 844"/>
                <a:gd name="T59" fmla="*/ 11 h 881"/>
                <a:gd name="T60" fmla="*/ 197 w 844"/>
                <a:gd name="T61" fmla="*/ 1 h 881"/>
                <a:gd name="T62" fmla="*/ 249 w 844"/>
                <a:gd name="T63" fmla="*/ 1 h 881"/>
                <a:gd name="T64" fmla="*/ 259 w 844"/>
                <a:gd name="T65" fmla="*/ 11 h 881"/>
                <a:gd name="T66" fmla="*/ 259 w 844"/>
                <a:gd name="T67" fmla="*/ 71 h 881"/>
                <a:gd name="T68" fmla="*/ 187 w 844"/>
                <a:gd name="T69" fmla="*/ 133 h 881"/>
                <a:gd name="T70" fmla="*/ 422 w 844"/>
                <a:gd name="T71" fmla="*/ 154 h 881"/>
                <a:gd name="T72" fmla="*/ 126 w 844"/>
                <a:gd name="T73" fmla="*/ 409 h 881"/>
                <a:gd name="T74" fmla="*/ 126 w 844"/>
                <a:gd name="T75" fmla="*/ 715 h 881"/>
                <a:gd name="T76" fmla="*/ 463 w 844"/>
                <a:gd name="T77" fmla="*/ 715 h 881"/>
                <a:gd name="T78" fmla="*/ 463 w 844"/>
                <a:gd name="T79" fmla="*/ 508 h 881"/>
                <a:gd name="T80" fmla="*/ 468 w 844"/>
                <a:gd name="T81" fmla="*/ 503 h 881"/>
                <a:gd name="T82" fmla="*/ 582 w 844"/>
                <a:gd name="T83" fmla="*/ 503 h 881"/>
                <a:gd name="T84" fmla="*/ 587 w 844"/>
                <a:gd name="T85" fmla="*/ 508 h 881"/>
                <a:gd name="T86" fmla="*/ 587 w 844"/>
                <a:gd name="T87" fmla="*/ 715 h 881"/>
                <a:gd name="T88" fmla="*/ 718 w 844"/>
                <a:gd name="T89" fmla="*/ 715 h 881"/>
                <a:gd name="T90" fmla="*/ 718 w 844"/>
                <a:gd name="T91" fmla="*/ 409 h 881"/>
                <a:gd name="T92" fmla="*/ 422 w 844"/>
                <a:gd name="T93" fmla="*/ 154 h 881"/>
                <a:gd name="T94" fmla="*/ 381 w 844"/>
                <a:gd name="T95" fmla="*/ 610 h 881"/>
                <a:gd name="T96" fmla="*/ 371 w 844"/>
                <a:gd name="T97" fmla="*/ 620 h 881"/>
                <a:gd name="T98" fmla="*/ 267 w 844"/>
                <a:gd name="T99" fmla="*/ 620 h 881"/>
                <a:gd name="T100" fmla="*/ 257 w 844"/>
                <a:gd name="T101" fmla="*/ 610 h 881"/>
                <a:gd name="T102" fmla="*/ 257 w 844"/>
                <a:gd name="T103" fmla="*/ 507 h 881"/>
                <a:gd name="T104" fmla="*/ 267 w 844"/>
                <a:gd name="T105" fmla="*/ 497 h 881"/>
                <a:gd name="T106" fmla="*/ 371 w 844"/>
                <a:gd name="T107" fmla="*/ 497 h 881"/>
                <a:gd name="T108" fmla="*/ 381 w 844"/>
                <a:gd name="T109" fmla="*/ 507 h 881"/>
                <a:gd name="T110" fmla="*/ 381 w 844"/>
                <a:gd name="T111" fmla="*/ 61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4" h="881">
                  <a:moveTo>
                    <a:pt x="833" y="799"/>
                  </a:moveTo>
                  <a:cubicBezTo>
                    <a:pt x="789" y="799"/>
                    <a:pt x="789" y="799"/>
                    <a:pt x="789" y="799"/>
                  </a:cubicBezTo>
                  <a:cubicBezTo>
                    <a:pt x="789" y="778"/>
                    <a:pt x="789" y="778"/>
                    <a:pt x="789" y="778"/>
                  </a:cubicBezTo>
                  <a:cubicBezTo>
                    <a:pt x="789" y="771"/>
                    <a:pt x="783" y="766"/>
                    <a:pt x="777" y="766"/>
                  </a:cubicBezTo>
                  <a:cubicBezTo>
                    <a:pt x="67" y="766"/>
                    <a:pt x="67" y="766"/>
                    <a:pt x="67" y="766"/>
                  </a:cubicBezTo>
                  <a:cubicBezTo>
                    <a:pt x="61" y="766"/>
                    <a:pt x="55" y="771"/>
                    <a:pt x="55" y="778"/>
                  </a:cubicBezTo>
                  <a:cubicBezTo>
                    <a:pt x="55" y="799"/>
                    <a:pt x="55" y="799"/>
                    <a:pt x="55" y="799"/>
                  </a:cubicBezTo>
                  <a:cubicBezTo>
                    <a:pt x="11" y="799"/>
                    <a:pt x="11" y="799"/>
                    <a:pt x="11" y="799"/>
                  </a:cubicBezTo>
                  <a:cubicBezTo>
                    <a:pt x="5" y="799"/>
                    <a:pt x="0" y="804"/>
                    <a:pt x="0" y="811"/>
                  </a:cubicBezTo>
                  <a:cubicBezTo>
                    <a:pt x="0" y="869"/>
                    <a:pt x="0" y="869"/>
                    <a:pt x="0" y="869"/>
                  </a:cubicBezTo>
                  <a:cubicBezTo>
                    <a:pt x="0" y="876"/>
                    <a:pt x="5" y="881"/>
                    <a:pt x="11" y="881"/>
                  </a:cubicBezTo>
                  <a:cubicBezTo>
                    <a:pt x="833" y="881"/>
                    <a:pt x="833" y="881"/>
                    <a:pt x="833" y="881"/>
                  </a:cubicBezTo>
                  <a:cubicBezTo>
                    <a:pt x="839" y="881"/>
                    <a:pt x="844" y="876"/>
                    <a:pt x="844" y="869"/>
                  </a:cubicBezTo>
                  <a:cubicBezTo>
                    <a:pt x="844" y="811"/>
                    <a:pt x="844" y="811"/>
                    <a:pt x="844" y="811"/>
                  </a:cubicBezTo>
                  <a:cubicBezTo>
                    <a:pt x="844" y="804"/>
                    <a:pt x="839" y="799"/>
                    <a:pt x="833" y="799"/>
                  </a:cubicBezTo>
                  <a:close/>
                  <a:moveTo>
                    <a:pt x="809" y="337"/>
                  </a:move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lose/>
                  <a:moveTo>
                    <a:pt x="187" y="133"/>
                  </a:moveTo>
                  <a:cubicBezTo>
                    <a:pt x="187" y="11"/>
                    <a:pt x="187" y="11"/>
                    <a:pt x="187" y="11"/>
                  </a:cubicBezTo>
                  <a:cubicBezTo>
                    <a:pt x="187" y="6"/>
                    <a:pt x="191" y="1"/>
                    <a:pt x="197" y="1"/>
                  </a:cubicBezTo>
                  <a:cubicBezTo>
                    <a:pt x="249" y="1"/>
                    <a:pt x="249" y="1"/>
                    <a:pt x="249" y="1"/>
                  </a:cubicBezTo>
                  <a:cubicBezTo>
                    <a:pt x="254" y="1"/>
                    <a:pt x="259" y="6"/>
                    <a:pt x="259" y="11"/>
                  </a:cubicBezTo>
                  <a:cubicBezTo>
                    <a:pt x="259" y="71"/>
                    <a:pt x="259" y="71"/>
                    <a:pt x="259" y="71"/>
                  </a:cubicBezTo>
                  <a:lnTo>
                    <a:pt x="187" y="133"/>
                  </a:lnTo>
                  <a:close/>
                  <a:moveTo>
                    <a:pt x="422" y="154"/>
                  </a:moveTo>
                  <a:cubicBezTo>
                    <a:pt x="126" y="409"/>
                    <a:pt x="126" y="409"/>
                    <a:pt x="126" y="409"/>
                  </a:cubicBezTo>
                  <a:cubicBezTo>
                    <a:pt x="126" y="715"/>
                    <a:pt x="126" y="715"/>
                    <a:pt x="126" y="715"/>
                  </a:cubicBezTo>
                  <a:cubicBezTo>
                    <a:pt x="463" y="715"/>
                    <a:pt x="463" y="715"/>
                    <a:pt x="463" y="715"/>
                  </a:cubicBezTo>
                  <a:cubicBezTo>
                    <a:pt x="463" y="508"/>
                    <a:pt x="463" y="508"/>
                    <a:pt x="463" y="508"/>
                  </a:cubicBezTo>
                  <a:cubicBezTo>
                    <a:pt x="463" y="505"/>
                    <a:pt x="466" y="503"/>
                    <a:pt x="468" y="503"/>
                  </a:cubicBezTo>
                  <a:cubicBezTo>
                    <a:pt x="582" y="503"/>
                    <a:pt x="582" y="503"/>
                    <a:pt x="582" y="503"/>
                  </a:cubicBezTo>
                  <a:cubicBezTo>
                    <a:pt x="584" y="503"/>
                    <a:pt x="587" y="505"/>
                    <a:pt x="587" y="508"/>
                  </a:cubicBezTo>
                  <a:cubicBezTo>
                    <a:pt x="587" y="715"/>
                    <a:pt x="587" y="715"/>
                    <a:pt x="587" y="715"/>
                  </a:cubicBezTo>
                  <a:cubicBezTo>
                    <a:pt x="718" y="715"/>
                    <a:pt x="718" y="715"/>
                    <a:pt x="718" y="715"/>
                  </a:cubicBezTo>
                  <a:cubicBezTo>
                    <a:pt x="718" y="409"/>
                    <a:pt x="718" y="409"/>
                    <a:pt x="718" y="409"/>
                  </a:cubicBezTo>
                  <a:lnTo>
                    <a:pt x="422" y="154"/>
                  </a:lnTo>
                  <a:close/>
                  <a:moveTo>
                    <a:pt x="381" y="610"/>
                  </a:moveTo>
                  <a:cubicBezTo>
                    <a:pt x="381" y="616"/>
                    <a:pt x="376" y="620"/>
                    <a:pt x="371" y="620"/>
                  </a:cubicBezTo>
                  <a:cubicBezTo>
                    <a:pt x="267" y="620"/>
                    <a:pt x="267" y="620"/>
                    <a:pt x="267" y="620"/>
                  </a:cubicBezTo>
                  <a:cubicBezTo>
                    <a:pt x="262" y="620"/>
                    <a:pt x="257" y="616"/>
                    <a:pt x="257" y="610"/>
                  </a:cubicBezTo>
                  <a:cubicBezTo>
                    <a:pt x="257" y="507"/>
                    <a:pt x="257" y="507"/>
                    <a:pt x="257" y="507"/>
                  </a:cubicBezTo>
                  <a:cubicBezTo>
                    <a:pt x="257" y="502"/>
                    <a:pt x="262" y="497"/>
                    <a:pt x="267" y="497"/>
                  </a:cubicBezTo>
                  <a:cubicBezTo>
                    <a:pt x="371" y="497"/>
                    <a:pt x="371" y="497"/>
                    <a:pt x="371" y="497"/>
                  </a:cubicBezTo>
                  <a:cubicBezTo>
                    <a:pt x="376" y="497"/>
                    <a:pt x="381" y="502"/>
                    <a:pt x="381" y="507"/>
                  </a:cubicBezTo>
                  <a:lnTo>
                    <a:pt x="381" y="61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 name="Freeform 5">
              <a:extLst>
                <a:ext uri="{FF2B5EF4-FFF2-40B4-BE49-F238E27FC236}">
                  <a16:creationId xmlns:a16="http://schemas.microsoft.com/office/drawing/2014/main" id="{6C55EA49-3025-47C1-9F0D-EB2D52433BCD}"/>
                </a:ext>
              </a:extLst>
            </p:cNvPr>
            <p:cNvSpPr>
              <a:spLocks noEditPoints="1"/>
            </p:cNvSpPr>
            <p:nvPr/>
          </p:nvSpPr>
          <p:spPr bwMode="auto">
            <a:xfrm rot="1891065">
              <a:off x="1186609" y="920554"/>
              <a:ext cx="966811" cy="1138933"/>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 name="Rectangle 2" hidden="1">
            <a:extLst>
              <a:ext uri="{FF2B5EF4-FFF2-40B4-BE49-F238E27FC236}">
                <a16:creationId xmlns:a16="http://schemas.microsoft.com/office/drawing/2014/main" id="{8D78C8F6-36BE-489D-BBAC-4C56BEFDEC57}"/>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2" name="Title 1"/>
          <p:cNvSpPr>
            <a:spLocks noGrp="1"/>
          </p:cNvSpPr>
          <p:nvPr>
            <p:ph type="title"/>
          </p:nvPr>
        </p:nvSpPr>
        <p:spPr>
          <a:xfrm>
            <a:off x="620364" y="586267"/>
            <a:ext cx="10917936" cy="854080"/>
          </a:xfrm>
        </p:spPr>
        <p:txBody>
          <a:bodyPr vert="horz"/>
          <a:lstStyle/>
          <a:p>
            <a:r>
              <a:rPr lang="cs-CZ" dirty="0"/>
              <a:t>Our </a:t>
            </a:r>
            <a:r>
              <a:rPr lang="cs-CZ" dirty="0" err="1"/>
              <a:t>solution</a:t>
            </a:r>
            <a:r>
              <a:rPr lang="cs-CZ" dirty="0"/>
              <a:t> – </a:t>
            </a:r>
            <a:r>
              <a:rPr lang="cs-CZ" dirty="0" err="1"/>
              <a:t>Get</a:t>
            </a:r>
            <a:r>
              <a:rPr lang="cs-CZ" dirty="0"/>
              <a:t> </a:t>
            </a:r>
            <a:r>
              <a:rPr lang="cs-CZ" dirty="0" err="1"/>
              <a:t>real</a:t>
            </a:r>
            <a:endParaRPr lang="en-US" dirty="0"/>
          </a:p>
        </p:txBody>
      </p:sp>
      <p:sp>
        <p:nvSpPr>
          <p:cNvPr id="16" name="Rectangle 15"/>
          <p:cNvSpPr/>
          <p:nvPr/>
        </p:nvSpPr>
        <p:spPr>
          <a:xfrm>
            <a:off x="8603724" y="3048000"/>
            <a:ext cx="2604844"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2400" b="1" i="0" u="none" strike="noStrike" kern="0" cap="none" spc="0" normalizeH="0" baseline="0" noProof="0" dirty="0">
                <a:ln>
                  <a:noFill/>
                </a:ln>
                <a:solidFill>
                  <a:schemeClr val="accent4"/>
                </a:solidFill>
                <a:effectLst/>
                <a:uLnTx/>
                <a:uFillTx/>
              </a:rPr>
              <a:t>Real </a:t>
            </a:r>
            <a:r>
              <a:rPr kumimoji="0" lang="cs-CZ" sz="2400" b="1" i="0" u="none" strike="noStrike" kern="0" cap="none" spc="0" normalizeH="0" baseline="0" noProof="0" dirty="0" err="1">
                <a:ln>
                  <a:noFill/>
                </a:ln>
                <a:solidFill>
                  <a:schemeClr val="accent4"/>
                </a:solidFill>
                <a:effectLst/>
                <a:uLnTx/>
                <a:uFillTx/>
              </a:rPr>
              <a:t>Estate</a:t>
            </a:r>
            <a:r>
              <a:rPr kumimoji="0" lang="cs-CZ" sz="2400" b="1" i="0" u="none" strike="noStrike" kern="0" cap="none" spc="0" normalizeH="0" baseline="0" noProof="0" dirty="0">
                <a:ln>
                  <a:noFill/>
                </a:ln>
                <a:solidFill>
                  <a:schemeClr val="accent4"/>
                </a:solidFill>
                <a:effectLst/>
                <a:uLnTx/>
                <a:uFillTx/>
              </a:rPr>
              <a:t> dashboard and </a:t>
            </a:r>
            <a:r>
              <a:rPr kumimoji="0" lang="cs-CZ" sz="2400" b="1" i="0" u="none" strike="noStrike" kern="0" cap="none" spc="0" normalizeH="0" baseline="0" noProof="0" dirty="0" err="1">
                <a:ln>
                  <a:noFill/>
                </a:ln>
                <a:solidFill>
                  <a:schemeClr val="accent4"/>
                </a:solidFill>
                <a:effectLst/>
                <a:uLnTx/>
                <a:uFillTx/>
              </a:rPr>
              <a:t>recommender</a:t>
            </a:r>
            <a:endParaRPr kumimoji="0" lang="cs-CZ" sz="700" b="0" i="0" u="none" strike="noStrike" kern="0" cap="none" spc="0" normalizeH="0" baseline="0" noProof="0" dirty="0">
              <a:ln>
                <a:noFill/>
              </a:ln>
              <a:effectLst/>
              <a:uLnTx/>
              <a:uFillTx/>
            </a:endParaRPr>
          </a:p>
        </p:txBody>
      </p:sp>
      <p:sp>
        <p:nvSpPr>
          <p:cNvPr id="20" name="Rectangle 19"/>
          <p:cNvSpPr/>
          <p:nvPr/>
        </p:nvSpPr>
        <p:spPr>
          <a:xfrm>
            <a:off x="2891048" y="2286000"/>
            <a:ext cx="176479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400" b="1" i="0" u="none" strike="noStrike" kern="0" cap="none" spc="0" normalizeH="0" baseline="0" noProof="0" dirty="0">
                <a:ln>
                  <a:noFill/>
                </a:ln>
                <a:solidFill>
                  <a:schemeClr val="accent4"/>
                </a:solidFill>
                <a:effectLst/>
                <a:uLnTx/>
                <a:uFillTx/>
              </a:rPr>
              <a:t>AI-powered</a:t>
            </a:r>
            <a:endParaRPr kumimoji="0" lang="cs-CZ" sz="700" b="0" i="0" u="none" strike="noStrike" kern="0" cap="none" spc="0" normalizeH="0" baseline="0" noProof="0" dirty="0">
              <a:ln>
                <a:noFill/>
              </a:ln>
              <a:effectLst/>
              <a:uLnTx/>
              <a:uFillTx/>
            </a:endParaRPr>
          </a:p>
        </p:txBody>
      </p:sp>
      <p:grpSp>
        <p:nvGrpSpPr>
          <p:cNvPr id="34" name="bcgIcons_Network">
            <a:extLst>
              <a:ext uri="{FF2B5EF4-FFF2-40B4-BE49-F238E27FC236}">
                <a16:creationId xmlns:a16="http://schemas.microsoft.com/office/drawing/2014/main" id="{EE5A81BC-F0BC-4BED-940D-85E9CA0A4354}"/>
              </a:ext>
            </a:extLst>
          </p:cNvPr>
          <p:cNvGrpSpPr>
            <a:grpSpLocks noChangeAspect="1"/>
          </p:cNvGrpSpPr>
          <p:nvPr/>
        </p:nvGrpSpPr>
        <p:grpSpPr bwMode="auto">
          <a:xfrm>
            <a:off x="1937418" y="3767137"/>
            <a:ext cx="1127760" cy="1309497"/>
            <a:chOff x="2362" y="441"/>
            <a:chExt cx="2960" cy="3437"/>
          </a:xfrm>
          <a:solidFill>
            <a:schemeClr val="accent2"/>
          </a:solidFill>
        </p:grpSpPr>
        <p:sp>
          <p:nvSpPr>
            <p:cNvPr id="36" name="Freeform 26">
              <a:extLst>
                <a:ext uri="{FF2B5EF4-FFF2-40B4-BE49-F238E27FC236}">
                  <a16:creationId xmlns:a16="http://schemas.microsoft.com/office/drawing/2014/main" id="{8E626271-C543-41C7-ACE4-5077EC40BAAE}"/>
                </a:ext>
              </a:extLst>
            </p:cNvPr>
            <p:cNvSpPr>
              <a:spLocks noEditPoints="1"/>
            </p:cNvSpPr>
            <p:nvPr/>
          </p:nvSpPr>
          <p:spPr bwMode="auto">
            <a:xfrm>
              <a:off x="2527" y="626"/>
              <a:ext cx="2630" cy="3068"/>
            </a:xfrm>
            <a:custGeom>
              <a:avLst/>
              <a:gdLst>
                <a:gd name="T0" fmla="*/ 1189 w 2630"/>
                <a:gd name="T1" fmla="*/ 1962 h 3068"/>
                <a:gd name="T2" fmla="*/ 880 w 2630"/>
                <a:gd name="T3" fmla="*/ 1783 h 3068"/>
                <a:gd name="T4" fmla="*/ 880 w 2630"/>
                <a:gd name="T5" fmla="*/ 1427 h 3068"/>
                <a:gd name="T6" fmla="*/ 1189 w 2630"/>
                <a:gd name="T7" fmla="*/ 1605 h 3068"/>
                <a:gd name="T8" fmla="*/ 1189 w 2630"/>
                <a:gd name="T9" fmla="*/ 1962 h 3068"/>
                <a:gd name="T10" fmla="*/ 1313 w 2630"/>
                <a:gd name="T11" fmla="*/ 1392 h 3068"/>
                <a:gd name="T12" fmla="*/ 1622 w 2630"/>
                <a:gd name="T13" fmla="*/ 1213 h 3068"/>
                <a:gd name="T14" fmla="*/ 1313 w 2630"/>
                <a:gd name="T15" fmla="*/ 1035 h 3068"/>
                <a:gd name="T16" fmla="*/ 1004 w 2630"/>
                <a:gd name="T17" fmla="*/ 1213 h 3068"/>
                <a:gd name="T18" fmla="*/ 1313 w 2630"/>
                <a:gd name="T19" fmla="*/ 1392 h 3068"/>
                <a:gd name="T20" fmla="*/ 1437 w 2630"/>
                <a:gd name="T21" fmla="*/ 1605 h 3068"/>
                <a:gd name="T22" fmla="*/ 1437 w 2630"/>
                <a:gd name="T23" fmla="*/ 1962 h 3068"/>
                <a:gd name="T24" fmla="*/ 1746 w 2630"/>
                <a:gd name="T25" fmla="*/ 1783 h 3068"/>
                <a:gd name="T26" fmla="*/ 1746 w 2630"/>
                <a:gd name="T27" fmla="*/ 1427 h 3068"/>
                <a:gd name="T28" fmla="*/ 1437 w 2630"/>
                <a:gd name="T29" fmla="*/ 1605 h 3068"/>
                <a:gd name="T30" fmla="*/ 1313 w 2630"/>
                <a:gd name="T31" fmla="*/ 373 h 3068"/>
                <a:gd name="T32" fmla="*/ 1474 w 2630"/>
                <a:gd name="T33" fmla="*/ 280 h 3068"/>
                <a:gd name="T34" fmla="*/ 1474 w 2630"/>
                <a:gd name="T35" fmla="*/ 94 h 3068"/>
                <a:gd name="T36" fmla="*/ 1313 w 2630"/>
                <a:gd name="T37" fmla="*/ 0 h 3068"/>
                <a:gd name="T38" fmla="*/ 1152 w 2630"/>
                <a:gd name="T39" fmla="*/ 94 h 3068"/>
                <a:gd name="T40" fmla="*/ 1152 w 2630"/>
                <a:gd name="T41" fmla="*/ 280 h 3068"/>
                <a:gd name="T42" fmla="*/ 1313 w 2630"/>
                <a:gd name="T43" fmla="*/ 373 h 3068"/>
                <a:gd name="T44" fmla="*/ 1313 w 2630"/>
                <a:gd name="T45" fmla="*/ 3068 h 3068"/>
                <a:gd name="T46" fmla="*/ 1474 w 2630"/>
                <a:gd name="T47" fmla="*/ 2974 h 3068"/>
                <a:gd name="T48" fmla="*/ 1474 w 2630"/>
                <a:gd name="T49" fmla="*/ 2788 h 3068"/>
                <a:gd name="T50" fmla="*/ 1313 w 2630"/>
                <a:gd name="T51" fmla="*/ 2695 h 3068"/>
                <a:gd name="T52" fmla="*/ 1152 w 2630"/>
                <a:gd name="T53" fmla="*/ 2788 h 3068"/>
                <a:gd name="T54" fmla="*/ 1152 w 2630"/>
                <a:gd name="T55" fmla="*/ 2974 h 3068"/>
                <a:gd name="T56" fmla="*/ 1313 w 2630"/>
                <a:gd name="T57" fmla="*/ 3068 h 3068"/>
                <a:gd name="T58" fmla="*/ 2469 w 2630"/>
                <a:gd name="T59" fmla="*/ 2393 h 3068"/>
                <a:gd name="T60" fmla="*/ 2630 w 2630"/>
                <a:gd name="T61" fmla="*/ 2299 h 3068"/>
                <a:gd name="T62" fmla="*/ 2630 w 2630"/>
                <a:gd name="T63" fmla="*/ 2113 h 3068"/>
                <a:gd name="T64" fmla="*/ 2469 w 2630"/>
                <a:gd name="T65" fmla="*/ 2020 h 3068"/>
                <a:gd name="T66" fmla="*/ 2308 w 2630"/>
                <a:gd name="T67" fmla="*/ 2113 h 3068"/>
                <a:gd name="T68" fmla="*/ 2308 w 2630"/>
                <a:gd name="T69" fmla="*/ 2299 h 3068"/>
                <a:gd name="T70" fmla="*/ 2469 w 2630"/>
                <a:gd name="T71" fmla="*/ 2393 h 3068"/>
                <a:gd name="T72" fmla="*/ 2469 w 2630"/>
                <a:gd name="T73" fmla="*/ 1048 h 3068"/>
                <a:gd name="T74" fmla="*/ 2630 w 2630"/>
                <a:gd name="T75" fmla="*/ 955 h 3068"/>
                <a:gd name="T76" fmla="*/ 2630 w 2630"/>
                <a:gd name="T77" fmla="*/ 769 h 3068"/>
                <a:gd name="T78" fmla="*/ 2469 w 2630"/>
                <a:gd name="T79" fmla="*/ 675 h 3068"/>
                <a:gd name="T80" fmla="*/ 2308 w 2630"/>
                <a:gd name="T81" fmla="*/ 769 h 3068"/>
                <a:gd name="T82" fmla="*/ 2308 w 2630"/>
                <a:gd name="T83" fmla="*/ 955 h 3068"/>
                <a:gd name="T84" fmla="*/ 2469 w 2630"/>
                <a:gd name="T85" fmla="*/ 1048 h 3068"/>
                <a:gd name="T86" fmla="*/ 161 w 2630"/>
                <a:gd name="T87" fmla="*/ 2393 h 3068"/>
                <a:gd name="T88" fmla="*/ 322 w 2630"/>
                <a:gd name="T89" fmla="*/ 2299 h 3068"/>
                <a:gd name="T90" fmla="*/ 322 w 2630"/>
                <a:gd name="T91" fmla="*/ 2113 h 3068"/>
                <a:gd name="T92" fmla="*/ 161 w 2630"/>
                <a:gd name="T93" fmla="*/ 2020 h 3068"/>
                <a:gd name="T94" fmla="*/ 0 w 2630"/>
                <a:gd name="T95" fmla="*/ 2113 h 3068"/>
                <a:gd name="T96" fmla="*/ 0 w 2630"/>
                <a:gd name="T97" fmla="*/ 2299 h 3068"/>
                <a:gd name="T98" fmla="*/ 161 w 2630"/>
                <a:gd name="T99" fmla="*/ 2393 h 3068"/>
                <a:gd name="T100" fmla="*/ 161 w 2630"/>
                <a:gd name="T101" fmla="*/ 1048 h 3068"/>
                <a:gd name="T102" fmla="*/ 322 w 2630"/>
                <a:gd name="T103" fmla="*/ 955 h 3068"/>
                <a:gd name="T104" fmla="*/ 322 w 2630"/>
                <a:gd name="T105" fmla="*/ 769 h 3068"/>
                <a:gd name="T106" fmla="*/ 161 w 2630"/>
                <a:gd name="T107" fmla="*/ 675 h 3068"/>
                <a:gd name="T108" fmla="*/ 0 w 2630"/>
                <a:gd name="T109" fmla="*/ 769 h 3068"/>
                <a:gd name="T110" fmla="*/ 0 w 2630"/>
                <a:gd name="T111" fmla="*/ 955 h 3068"/>
                <a:gd name="T112" fmla="*/ 161 w 2630"/>
                <a:gd name="T113" fmla="*/ 1048 h 3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30" h="3068">
                  <a:moveTo>
                    <a:pt x="1189" y="1962"/>
                  </a:moveTo>
                  <a:lnTo>
                    <a:pt x="880" y="1783"/>
                  </a:lnTo>
                  <a:lnTo>
                    <a:pt x="880" y="1427"/>
                  </a:lnTo>
                  <a:lnTo>
                    <a:pt x="1189" y="1605"/>
                  </a:lnTo>
                  <a:lnTo>
                    <a:pt x="1189" y="1962"/>
                  </a:lnTo>
                  <a:close/>
                  <a:moveTo>
                    <a:pt x="1313" y="1392"/>
                  </a:moveTo>
                  <a:lnTo>
                    <a:pt x="1622" y="1213"/>
                  </a:lnTo>
                  <a:lnTo>
                    <a:pt x="1313" y="1035"/>
                  </a:lnTo>
                  <a:lnTo>
                    <a:pt x="1004" y="1213"/>
                  </a:lnTo>
                  <a:lnTo>
                    <a:pt x="1313" y="1392"/>
                  </a:lnTo>
                  <a:close/>
                  <a:moveTo>
                    <a:pt x="1437" y="1605"/>
                  </a:moveTo>
                  <a:lnTo>
                    <a:pt x="1437" y="1962"/>
                  </a:lnTo>
                  <a:lnTo>
                    <a:pt x="1746" y="1783"/>
                  </a:lnTo>
                  <a:lnTo>
                    <a:pt x="1746" y="1427"/>
                  </a:lnTo>
                  <a:lnTo>
                    <a:pt x="1437" y="1605"/>
                  </a:lnTo>
                  <a:close/>
                  <a:moveTo>
                    <a:pt x="1313" y="373"/>
                  </a:moveTo>
                  <a:lnTo>
                    <a:pt x="1474" y="280"/>
                  </a:lnTo>
                  <a:lnTo>
                    <a:pt x="1474" y="94"/>
                  </a:lnTo>
                  <a:lnTo>
                    <a:pt x="1313" y="0"/>
                  </a:lnTo>
                  <a:lnTo>
                    <a:pt x="1152" y="94"/>
                  </a:lnTo>
                  <a:lnTo>
                    <a:pt x="1152" y="280"/>
                  </a:lnTo>
                  <a:lnTo>
                    <a:pt x="1313" y="373"/>
                  </a:lnTo>
                  <a:close/>
                  <a:moveTo>
                    <a:pt x="1313" y="3068"/>
                  </a:moveTo>
                  <a:lnTo>
                    <a:pt x="1474" y="2974"/>
                  </a:lnTo>
                  <a:lnTo>
                    <a:pt x="1474" y="2788"/>
                  </a:lnTo>
                  <a:lnTo>
                    <a:pt x="1313" y="2695"/>
                  </a:lnTo>
                  <a:lnTo>
                    <a:pt x="1152" y="2788"/>
                  </a:lnTo>
                  <a:lnTo>
                    <a:pt x="1152" y="2974"/>
                  </a:lnTo>
                  <a:lnTo>
                    <a:pt x="1313" y="3068"/>
                  </a:lnTo>
                  <a:close/>
                  <a:moveTo>
                    <a:pt x="2469" y="2393"/>
                  </a:moveTo>
                  <a:lnTo>
                    <a:pt x="2630" y="2299"/>
                  </a:lnTo>
                  <a:lnTo>
                    <a:pt x="2630" y="2113"/>
                  </a:lnTo>
                  <a:lnTo>
                    <a:pt x="2469" y="2020"/>
                  </a:lnTo>
                  <a:lnTo>
                    <a:pt x="2308" y="2113"/>
                  </a:lnTo>
                  <a:lnTo>
                    <a:pt x="2308" y="2299"/>
                  </a:lnTo>
                  <a:lnTo>
                    <a:pt x="2469" y="2393"/>
                  </a:lnTo>
                  <a:close/>
                  <a:moveTo>
                    <a:pt x="2469" y="1048"/>
                  </a:moveTo>
                  <a:lnTo>
                    <a:pt x="2630" y="955"/>
                  </a:lnTo>
                  <a:lnTo>
                    <a:pt x="2630" y="769"/>
                  </a:lnTo>
                  <a:lnTo>
                    <a:pt x="2469" y="675"/>
                  </a:lnTo>
                  <a:lnTo>
                    <a:pt x="2308" y="769"/>
                  </a:lnTo>
                  <a:lnTo>
                    <a:pt x="2308" y="955"/>
                  </a:lnTo>
                  <a:lnTo>
                    <a:pt x="2469" y="1048"/>
                  </a:lnTo>
                  <a:close/>
                  <a:moveTo>
                    <a:pt x="161" y="2393"/>
                  </a:moveTo>
                  <a:lnTo>
                    <a:pt x="322" y="2299"/>
                  </a:lnTo>
                  <a:lnTo>
                    <a:pt x="322" y="2113"/>
                  </a:lnTo>
                  <a:lnTo>
                    <a:pt x="161" y="2020"/>
                  </a:lnTo>
                  <a:lnTo>
                    <a:pt x="0" y="2113"/>
                  </a:lnTo>
                  <a:lnTo>
                    <a:pt x="0" y="2299"/>
                  </a:lnTo>
                  <a:lnTo>
                    <a:pt x="161" y="2393"/>
                  </a:lnTo>
                  <a:close/>
                  <a:moveTo>
                    <a:pt x="161" y="1048"/>
                  </a:moveTo>
                  <a:lnTo>
                    <a:pt x="322" y="955"/>
                  </a:lnTo>
                  <a:lnTo>
                    <a:pt x="322" y="769"/>
                  </a:lnTo>
                  <a:lnTo>
                    <a:pt x="161" y="675"/>
                  </a:lnTo>
                  <a:lnTo>
                    <a:pt x="0" y="769"/>
                  </a:lnTo>
                  <a:lnTo>
                    <a:pt x="0" y="955"/>
                  </a:lnTo>
                  <a:lnTo>
                    <a:pt x="161" y="10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39" name="Freeform 27">
              <a:extLst>
                <a:ext uri="{FF2B5EF4-FFF2-40B4-BE49-F238E27FC236}">
                  <a16:creationId xmlns:a16="http://schemas.microsoft.com/office/drawing/2014/main" id="{60A4BB2B-BB44-4DDB-9D3D-61ED84B1C01A}"/>
                </a:ext>
              </a:extLst>
            </p:cNvPr>
            <p:cNvSpPr>
              <a:spLocks noEditPoints="1"/>
            </p:cNvSpPr>
            <p:nvPr/>
          </p:nvSpPr>
          <p:spPr bwMode="auto">
            <a:xfrm>
              <a:off x="2362" y="441"/>
              <a:ext cx="2960" cy="3437"/>
            </a:xfrm>
            <a:custGeom>
              <a:avLst/>
              <a:gdLst>
                <a:gd name="T0" fmla="*/ 1395 w 1580"/>
                <a:gd name="T1" fmla="*/ 753 h 1833"/>
                <a:gd name="T2" fmla="*/ 1569 w 1580"/>
                <a:gd name="T3" fmla="*/ 665 h 1833"/>
                <a:gd name="T4" fmla="*/ 1569 w 1580"/>
                <a:gd name="T5" fmla="*/ 452 h 1833"/>
                <a:gd name="T6" fmla="*/ 1243 w 1580"/>
                <a:gd name="T7" fmla="*/ 452 h 1833"/>
                <a:gd name="T8" fmla="*/ 1086 w 1580"/>
                <a:gd name="T9" fmla="*/ 720 h 1833"/>
                <a:gd name="T10" fmla="*/ 952 w 1580"/>
                <a:gd name="T11" fmla="*/ 305 h 1833"/>
                <a:gd name="T12" fmla="*/ 952 w 1580"/>
                <a:gd name="T13" fmla="*/ 92 h 1833"/>
                <a:gd name="T14" fmla="*/ 626 w 1580"/>
                <a:gd name="T15" fmla="*/ 92 h 1833"/>
                <a:gd name="T16" fmla="*/ 626 w 1580"/>
                <a:gd name="T17" fmla="*/ 305 h 1833"/>
                <a:gd name="T18" fmla="*/ 492 w 1580"/>
                <a:gd name="T19" fmla="*/ 720 h 1833"/>
                <a:gd name="T20" fmla="*/ 337 w 1580"/>
                <a:gd name="T21" fmla="*/ 452 h 1833"/>
                <a:gd name="T22" fmla="*/ 11 w 1580"/>
                <a:gd name="T23" fmla="*/ 452 h 1833"/>
                <a:gd name="T24" fmla="*/ 11 w 1580"/>
                <a:gd name="T25" fmla="*/ 665 h 1833"/>
                <a:gd name="T26" fmla="*/ 185 w 1580"/>
                <a:gd name="T27" fmla="*/ 753 h 1833"/>
                <a:gd name="T28" fmla="*/ 470 w 1580"/>
                <a:gd name="T29" fmla="*/ 1076 h 1833"/>
                <a:gd name="T30" fmla="*/ 163 w 1580"/>
                <a:gd name="T31" fmla="*/ 1081 h 1833"/>
                <a:gd name="T32" fmla="*/ 0 w 1580"/>
                <a:gd name="T33" fmla="*/ 1363 h 1833"/>
                <a:gd name="T34" fmla="*/ 174 w 1580"/>
                <a:gd name="T35" fmla="*/ 1473 h 1833"/>
                <a:gd name="T36" fmla="*/ 348 w 1580"/>
                <a:gd name="T37" fmla="*/ 1363 h 1833"/>
                <a:gd name="T38" fmla="*/ 767 w 1580"/>
                <a:gd name="T39" fmla="*/ 1272 h 1833"/>
                <a:gd name="T40" fmla="*/ 615 w 1580"/>
                <a:gd name="T41" fmla="*/ 1548 h 1833"/>
                <a:gd name="T42" fmla="*/ 778 w 1580"/>
                <a:gd name="T43" fmla="*/ 1830 h 1833"/>
                <a:gd name="T44" fmla="*/ 952 w 1580"/>
                <a:gd name="T45" fmla="*/ 1742 h 1833"/>
                <a:gd name="T46" fmla="*/ 952 w 1580"/>
                <a:gd name="T47" fmla="*/ 1529 h 1833"/>
                <a:gd name="T48" fmla="*/ 1086 w 1580"/>
                <a:gd name="T49" fmla="*/ 1114 h 1833"/>
                <a:gd name="T50" fmla="*/ 1243 w 1580"/>
                <a:gd name="T51" fmla="*/ 1382 h 1833"/>
                <a:gd name="T52" fmla="*/ 1417 w 1580"/>
                <a:gd name="T53" fmla="*/ 1470 h 1833"/>
                <a:gd name="T54" fmla="*/ 1580 w 1580"/>
                <a:gd name="T55" fmla="*/ 1188 h 1833"/>
                <a:gd name="T56" fmla="*/ 1395 w 1580"/>
                <a:gd name="T57" fmla="*/ 1081 h 1833"/>
                <a:gd name="T58" fmla="*/ 1108 w 1580"/>
                <a:gd name="T59" fmla="*/ 758 h 1833"/>
                <a:gd name="T60" fmla="*/ 789 w 1580"/>
                <a:gd name="T61" fmla="*/ 600 h 1833"/>
                <a:gd name="T62" fmla="*/ 1276 w 1580"/>
                <a:gd name="T63" fmla="*/ 483 h 1833"/>
                <a:gd name="T64" fmla="*/ 1536 w 1580"/>
                <a:gd name="T65" fmla="*/ 634 h 1833"/>
                <a:gd name="T66" fmla="*/ 1276 w 1580"/>
                <a:gd name="T67" fmla="*/ 483 h 1833"/>
                <a:gd name="T68" fmla="*/ 919 w 1580"/>
                <a:gd name="T69" fmla="*/ 123 h 1833"/>
                <a:gd name="T70" fmla="*/ 659 w 1580"/>
                <a:gd name="T71" fmla="*/ 274 h 1833"/>
                <a:gd name="T72" fmla="*/ 174 w 1580"/>
                <a:gd name="T73" fmla="*/ 709 h 1833"/>
                <a:gd name="T74" fmla="*/ 174 w 1580"/>
                <a:gd name="T75" fmla="*/ 408 h 1833"/>
                <a:gd name="T76" fmla="*/ 304 w 1580"/>
                <a:gd name="T77" fmla="*/ 1351 h 1833"/>
                <a:gd name="T78" fmla="*/ 44 w 1580"/>
                <a:gd name="T79" fmla="*/ 1200 h 1833"/>
                <a:gd name="T80" fmla="*/ 304 w 1580"/>
                <a:gd name="T81" fmla="*/ 1351 h 1833"/>
                <a:gd name="T82" fmla="*/ 767 w 1580"/>
                <a:gd name="T83" fmla="*/ 1222 h 1833"/>
                <a:gd name="T84" fmla="*/ 919 w 1580"/>
                <a:gd name="T85" fmla="*/ 1711 h 1833"/>
                <a:gd name="T86" fmla="*/ 659 w 1580"/>
                <a:gd name="T87" fmla="*/ 1560 h 1833"/>
                <a:gd name="T88" fmla="*/ 919 w 1580"/>
                <a:gd name="T89" fmla="*/ 1711 h 1833"/>
                <a:gd name="T90" fmla="*/ 1064 w 1580"/>
                <a:gd name="T91" fmla="*/ 784 h 1833"/>
                <a:gd name="T92" fmla="*/ 1276 w 1580"/>
                <a:gd name="T93" fmla="*/ 1200 h 1833"/>
                <a:gd name="T94" fmla="*/ 1536 w 1580"/>
                <a:gd name="T95" fmla="*/ 1351 h 1833"/>
                <a:gd name="T96" fmla="*/ 1276 w 1580"/>
                <a:gd name="T97" fmla="*/ 1200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80" h="1833">
                  <a:moveTo>
                    <a:pt x="1108" y="758"/>
                  </a:moveTo>
                  <a:cubicBezTo>
                    <a:pt x="1254" y="672"/>
                    <a:pt x="1254" y="672"/>
                    <a:pt x="1254" y="672"/>
                  </a:cubicBezTo>
                  <a:cubicBezTo>
                    <a:pt x="1395" y="753"/>
                    <a:pt x="1395" y="753"/>
                    <a:pt x="1395" y="753"/>
                  </a:cubicBezTo>
                  <a:cubicBezTo>
                    <a:pt x="1399" y="755"/>
                    <a:pt x="1403" y="756"/>
                    <a:pt x="1406" y="756"/>
                  </a:cubicBezTo>
                  <a:cubicBezTo>
                    <a:pt x="1410" y="756"/>
                    <a:pt x="1414" y="755"/>
                    <a:pt x="1417" y="753"/>
                  </a:cubicBezTo>
                  <a:cubicBezTo>
                    <a:pt x="1569" y="665"/>
                    <a:pt x="1569" y="665"/>
                    <a:pt x="1569" y="665"/>
                  </a:cubicBezTo>
                  <a:cubicBezTo>
                    <a:pt x="1576" y="661"/>
                    <a:pt x="1580" y="654"/>
                    <a:pt x="1580" y="646"/>
                  </a:cubicBezTo>
                  <a:cubicBezTo>
                    <a:pt x="1580" y="471"/>
                    <a:pt x="1580" y="471"/>
                    <a:pt x="1580" y="471"/>
                  </a:cubicBezTo>
                  <a:cubicBezTo>
                    <a:pt x="1580" y="463"/>
                    <a:pt x="1576" y="456"/>
                    <a:pt x="1569" y="452"/>
                  </a:cubicBezTo>
                  <a:cubicBezTo>
                    <a:pt x="1417" y="364"/>
                    <a:pt x="1417" y="364"/>
                    <a:pt x="1417" y="364"/>
                  </a:cubicBezTo>
                  <a:cubicBezTo>
                    <a:pt x="1411" y="360"/>
                    <a:pt x="1402" y="360"/>
                    <a:pt x="1395" y="364"/>
                  </a:cubicBezTo>
                  <a:cubicBezTo>
                    <a:pt x="1243" y="452"/>
                    <a:pt x="1243" y="452"/>
                    <a:pt x="1243" y="452"/>
                  </a:cubicBezTo>
                  <a:cubicBezTo>
                    <a:pt x="1237" y="456"/>
                    <a:pt x="1232" y="463"/>
                    <a:pt x="1232" y="471"/>
                  </a:cubicBezTo>
                  <a:cubicBezTo>
                    <a:pt x="1232" y="634"/>
                    <a:pt x="1232" y="634"/>
                    <a:pt x="1232" y="634"/>
                  </a:cubicBezTo>
                  <a:cubicBezTo>
                    <a:pt x="1086" y="720"/>
                    <a:pt x="1086" y="720"/>
                    <a:pt x="1086" y="720"/>
                  </a:cubicBezTo>
                  <a:cubicBezTo>
                    <a:pt x="811" y="562"/>
                    <a:pt x="811" y="562"/>
                    <a:pt x="811" y="562"/>
                  </a:cubicBezTo>
                  <a:cubicBezTo>
                    <a:pt x="811" y="387"/>
                    <a:pt x="811" y="387"/>
                    <a:pt x="811" y="387"/>
                  </a:cubicBezTo>
                  <a:cubicBezTo>
                    <a:pt x="952" y="305"/>
                    <a:pt x="952" y="305"/>
                    <a:pt x="952" y="305"/>
                  </a:cubicBezTo>
                  <a:cubicBezTo>
                    <a:pt x="959" y="301"/>
                    <a:pt x="963" y="294"/>
                    <a:pt x="963" y="286"/>
                  </a:cubicBezTo>
                  <a:cubicBezTo>
                    <a:pt x="963" y="111"/>
                    <a:pt x="963" y="111"/>
                    <a:pt x="963" y="111"/>
                  </a:cubicBezTo>
                  <a:cubicBezTo>
                    <a:pt x="963" y="103"/>
                    <a:pt x="959" y="96"/>
                    <a:pt x="952" y="92"/>
                  </a:cubicBezTo>
                  <a:cubicBezTo>
                    <a:pt x="800" y="4"/>
                    <a:pt x="800" y="4"/>
                    <a:pt x="800" y="4"/>
                  </a:cubicBezTo>
                  <a:cubicBezTo>
                    <a:pt x="793" y="0"/>
                    <a:pt x="785" y="0"/>
                    <a:pt x="778" y="4"/>
                  </a:cubicBezTo>
                  <a:cubicBezTo>
                    <a:pt x="626" y="92"/>
                    <a:pt x="626" y="92"/>
                    <a:pt x="626" y="92"/>
                  </a:cubicBezTo>
                  <a:cubicBezTo>
                    <a:pt x="619" y="96"/>
                    <a:pt x="615" y="103"/>
                    <a:pt x="615" y="111"/>
                  </a:cubicBezTo>
                  <a:cubicBezTo>
                    <a:pt x="615" y="286"/>
                    <a:pt x="615" y="286"/>
                    <a:pt x="615" y="286"/>
                  </a:cubicBezTo>
                  <a:cubicBezTo>
                    <a:pt x="615" y="294"/>
                    <a:pt x="619" y="301"/>
                    <a:pt x="626" y="305"/>
                  </a:cubicBezTo>
                  <a:cubicBezTo>
                    <a:pt x="767" y="387"/>
                    <a:pt x="767" y="387"/>
                    <a:pt x="767" y="387"/>
                  </a:cubicBezTo>
                  <a:cubicBezTo>
                    <a:pt x="767" y="562"/>
                    <a:pt x="767" y="562"/>
                    <a:pt x="767" y="562"/>
                  </a:cubicBezTo>
                  <a:cubicBezTo>
                    <a:pt x="492" y="720"/>
                    <a:pt x="492" y="720"/>
                    <a:pt x="492" y="720"/>
                  </a:cubicBezTo>
                  <a:cubicBezTo>
                    <a:pt x="348" y="634"/>
                    <a:pt x="348" y="634"/>
                    <a:pt x="348" y="634"/>
                  </a:cubicBezTo>
                  <a:cubicBezTo>
                    <a:pt x="348" y="471"/>
                    <a:pt x="348" y="471"/>
                    <a:pt x="348" y="471"/>
                  </a:cubicBezTo>
                  <a:cubicBezTo>
                    <a:pt x="348" y="463"/>
                    <a:pt x="344" y="456"/>
                    <a:pt x="337" y="452"/>
                  </a:cubicBezTo>
                  <a:cubicBezTo>
                    <a:pt x="185" y="364"/>
                    <a:pt x="185" y="364"/>
                    <a:pt x="185" y="364"/>
                  </a:cubicBezTo>
                  <a:cubicBezTo>
                    <a:pt x="179" y="360"/>
                    <a:pt x="170" y="360"/>
                    <a:pt x="163" y="364"/>
                  </a:cubicBezTo>
                  <a:cubicBezTo>
                    <a:pt x="11" y="452"/>
                    <a:pt x="11" y="452"/>
                    <a:pt x="11" y="452"/>
                  </a:cubicBezTo>
                  <a:cubicBezTo>
                    <a:pt x="5" y="456"/>
                    <a:pt x="0" y="463"/>
                    <a:pt x="0" y="471"/>
                  </a:cubicBezTo>
                  <a:cubicBezTo>
                    <a:pt x="0" y="646"/>
                    <a:pt x="0" y="646"/>
                    <a:pt x="0" y="646"/>
                  </a:cubicBezTo>
                  <a:cubicBezTo>
                    <a:pt x="0" y="654"/>
                    <a:pt x="5" y="661"/>
                    <a:pt x="11" y="665"/>
                  </a:cubicBezTo>
                  <a:cubicBezTo>
                    <a:pt x="163" y="753"/>
                    <a:pt x="163" y="753"/>
                    <a:pt x="163" y="753"/>
                  </a:cubicBezTo>
                  <a:cubicBezTo>
                    <a:pt x="167" y="755"/>
                    <a:pt x="171" y="756"/>
                    <a:pt x="174" y="756"/>
                  </a:cubicBezTo>
                  <a:cubicBezTo>
                    <a:pt x="178" y="756"/>
                    <a:pt x="182" y="755"/>
                    <a:pt x="185" y="753"/>
                  </a:cubicBezTo>
                  <a:cubicBezTo>
                    <a:pt x="326" y="672"/>
                    <a:pt x="326" y="672"/>
                    <a:pt x="326" y="672"/>
                  </a:cubicBezTo>
                  <a:cubicBezTo>
                    <a:pt x="470" y="758"/>
                    <a:pt x="470" y="758"/>
                    <a:pt x="470" y="758"/>
                  </a:cubicBezTo>
                  <a:cubicBezTo>
                    <a:pt x="470" y="1076"/>
                    <a:pt x="470" y="1076"/>
                    <a:pt x="470" y="1076"/>
                  </a:cubicBezTo>
                  <a:cubicBezTo>
                    <a:pt x="326" y="1162"/>
                    <a:pt x="326" y="1162"/>
                    <a:pt x="326" y="1162"/>
                  </a:cubicBezTo>
                  <a:cubicBezTo>
                    <a:pt x="185" y="1081"/>
                    <a:pt x="185" y="1081"/>
                    <a:pt x="185" y="1081"/>
                  </a:cubicBezTo>
                  <a:cubicBezTo>
                    <a:pt x="179" y="1077"/>
                    <a:pt x="170" y="1077"/>
                    <a:pt x="163" y="1081"/>
                  </a:cubicBezTo>
                  <a:cubicBezTo>
                    <a:pt x="11" y="1169"/>
                    <a:pt x="11" y="1169"/>
                    <a:pt x="11" y="1169"/>
                  </a:cubicBezTo>
                  <a:cubicBezTo>
                    <a:pt x="5" y="1173"/>
                    <a:pt x="0" y="1180"/>
                    <a:pt x="0" y="1188"/>
                  </a:cubicBezTo>
                  <a:cubicBezTo>
                    <a:pt x="0" y="1363"/>
                    <a:pt x="0" y="1363"/>
                    <a:pt x="0" y="1363"/>
                  </a:cubicBezTo>
                  <a:cubicBezTo>
                    <a:pt x="0" y="1371"/>
                    <a:pt x="5" y="1378"/>
                    <a:pt x="11" y="1382"/>
                  </a:cubicBezTo>
                  <a:cubicBezTo>
                    <a:pt x="163" y="1470"/>
                    <a:pt x="163" y="1470"/>
                    <a:pt x="163" y="1470"/>
                  </a:cubicBezTo>
                  <a:cubicBezTo>
                    <a:pt x="167" y="1472"/>
                    <a:pt x="171" y="1473"/>
                    <a:pt x="174" y="1473"/>
                  </a:cubicBezTo>
                  <a:cubicBezTo>
                    <a:pt x="178" y="1473"/>
                    <a:pt x="182" y="1472"/>
                    <a:pt x="185" y="1470"/>
                  </a:cubicBezTo>
                  <a:cubicBezTo>
                    <a:pt x="337" y="1382"/>
                    <a:pt x="337" y="1382"/>
                    <a:pt x="337" y="1382"/>
                  </a:cubicBezTo>
                  <a:cubicBezTo>
                    <a:pt x="344" y="1378"/>
                    <a:pt x="348" y="1371"/>
                    <a:pt x="348" y="1363"/>
                  </a:cubicBezTo>
                  <a:cubicBezTo>
                    <a:pt x="348" y="1200"/>
                    <a:pt x="348" y="1200"/>
                    <a:pt x="348" y="1200"/>
                  </a:cubicBezTo>
                  <a:cubicBezTo>
                    <a:pt x="492" y="1114"/>
                    <a:pt x="492" y="1114"/>
                    <a:pt x="492" y="1114"/>
                  </a:cubicBezTo>
                  <a:cubicBezTo>
                    <a:pt x="767" y="1272"/>
                    <a:pt x="767" y="1272"/>
                    <a:pt x="767" y="1272"/>
                  </a:cubicBezTo>
                  <a:cubicBezTo>
                    <a:pt x="767" y="1447"/>
                    <a:pt x="767" y="1447"/>
                    <a:pt x="767" y="1447"/>
                  </a:cubicBezTo>
                  <a:cubicBezTo>
                    <a:pt x="626" y="1529"/>
                    <a:pt x="626" y="1529"/>
                    <a:pt x="626" y="1529"/>
                  </a:cubicBezTo>
                  <a:cubicBezTo>
                    <a:pt x="619" y="1533"/>
                    <a:pt x="615" y="1540"/>
                    <a:pt x="615" y="1548"/>
                  </a:cubicBezTo>
                  <a:cubicBezTo>
                    <a:pt x="615" y="1723"/>
                    <a:pt x="615" y="1723"/>
                    <a:pt x="615" y="1723"/>
                  </a:cubicBezTo>
                  <a:cubicBezTo>
                    <a:pt x="615" y="1731"/>
                    <a:pt x="619" y="1738"/>
                    <a:pt x="626" y="1742"/>
                  </a:cubicBezTo>
                  <a:cubicBezTo>
                    <a:pt x="778" y="1830"/>
                    <a:pt x="778" y="1830"/>
                    <a:pt x="778" y="1830"/>
                  </a:cubicBezTo>
                  <a:cubicBezTo>
                    <a:pt x="781" y="1832"/>
                    <a:pt x="785" y="1833"/>
                    <a:pt x="789" y="1833"/>
                  </a:cubicBezTo>
                  <a:cubicBezTo>
                    <a:pt x="793" y="1833"/>
                    <a:pt x="797" y="1832"/>
                    <a:pt x="800" y="1830"/>
                  </a:cubicBezTo>
                  <a:cubicBezTo>
                    <a:pt x="952" y="1742"/>
                    <a:pt x="952" y="1742"/>
                    <a:pt x="952" y="1742"/>
                  </a:cubicBezTo>
                  <a:cubicBezTo>
                    <a:pt x="959" y="1738"/>
                    <a:pt x="963" y="1731"/>
                    <a:pt x="963" y="1723"/>
                  </a:cubicBezTo>
                  <a:cubicBezTo>
                    <a:pt x="963" y="1548"/>
                    <a:pt x="963" y="1548"/>
                    <a:pt x="963" y="1548"/>
                  </a:cubicBezTo>
                  <a:cubicBezTo>
                    <a:pt x="963" y="1540"/>
                    <a:pt x="959" y="1533"/>
                    <a:pt x="952" y="1529"/>
                  </a:cubicBezTo>
                  <a:cubicBezTo>
                    <a:pt x="811" y="1447"/>
                    <a:pt x="811" y="1447"/>
                    <a:pt x="811" y="1447"/>
                  </a:cubicBezTo>
                  <a:cubicBezTo>
                    <a:pt x="811" y="1272"/>
                    <a:pt x="811" y="1272"/>
                    <a:pt x="811" y="1272"/>
                  </a:cubicBezTo>
                  <a:cubicBezTo>
                    <a:pt x="1086" y="1114"/>
                    <a:pt x="1086" y="1114"/>
                    <a:pt x="1086" y="1114"/>
                  </a:cubicBezTo>
                  <a:cubicBezTo>
                    <a:pt x="1232" y="1200"/>
                    <a:pt x="1232" y="1200"/>
                    <a:pt x="1232" y="1200"/>
                  </a:cubicBezTo>
                  <a:cubicBezTo>
                    <a:pt x="1232" y="1363"/>
                    <a:pt x="1232" y="1363"/>
                    <a:pt x="1232" y="1363"/>
                  </a:cubicBezTo>
                  <a:cubicBezTo>
                    <a:pt x="1232" y="1371"/>
                    <a:pt x="1237" y="1378"/>
                    <a:pt x="1243" y="1382"/>
                  </a:cubicBezTo>
                  <a:cubicBezTo>
                    <a:pt x="1395" y="1470"/>
                    <a:pt x="1395" y="1470"/>
                    <a:pt x="1395" y="1470"/>
                  </a:cubicBezTo>
                  <a:cubicBezTo>
                    <a:pt x="1399" y="1472"/>
                    <a:pt x="1403" y="1473"/>
                    <a:pt x="1406" y="1473"/>
                  </a:cubicBezTo>
                  <a:cubicBezTo>
                    <a:pt x="1410" y="1473"/>
                    <a:pt x="1414" y="1472"/>
                    <a:pt x="1417" y="1470"/>
                  </a:cubicBezTo>
                  <a:cubicBezTo>
                    <a:pt x="1569" y="1382"/>
                    <a:pt x="1569" y="1382"/>
                    <a:pt x="1569" y="1382"/>
                  </a:cubicBezTo>
                  <a:cubicBezTo>
                    <a:pt x="1576" y="1378"/>
                    <a:pt x="1580" y="1371"/>
                    <a:pt x="1580" y="1363"/>
                  </a:cubicBezTo>
                  <a:cubicBezTo>
                    <a:pt x="1580" y="1188"/>
                    <a:pt x="1580" y="1188"/>
                    <a:pt x="1580" y="1188"/>
                  </a:cubicBezTo>
                  <a:cubicBezTo>
                    <a:pt x="1580" y="1180"/>
                    <a:pt x="1576" y="1173"/>
                    <a:pt x="1569" y="1169"/>
                  </a:cubicBezTo>
                  <a:cubicBezTo>
                    <a:pt x="1417" y="1081"/>
                    <a:pt x="1417" y="1081"/>
                    <a:pt x="1417" y="1081"/>
                  </a:cubicBezTo>
                  <a:cubicBezTo>
                    <a:pt x="1411" y="1077"/>
                    <a:pt x="1402" y="1077"/>
                    <a:pt x="1395" y="1081"/>
                  </a:cubicBezTo>
                  <a:cubicBezTo>
                    <a:pt x="1254" y="1162"/>
                    <a:pt x="1254" y="1162"/>
                    <a:pt x="1254" y="1162"/>
                  </a:cubicBezTo>
                  <a:cubicBezTo>
                    <a:pt x="1108" y="1076"/>
                    <a:pt x="1108" y="1076"/>
                    <a:pt x="1108" y="1076"/>
                  </a:cubicBezTo>
                  <a:lnTo>
                    <a:pt x="1108" y="758"/>
                  </a:lnTo>
                  <a:close/>
                  <a:moveTo>
                    <a:pt x="789" y="892"/>
                  </a:moveTo>
                  <a:cubicBezTo>
                    <a:pt x="536" y="746"/>
                    <a:pt x="536" y="746"/>
                    <a:pt x="536" y="746"/>
                  </a:cubicBezTo>
                  <a:cubicBezTo>
                    <a:pt x="789" y="600"/>
                    <a:pt x="789" y="600"/>
                    <a:pt x="789" y="600"/>
                  </a:cubicBezTo>
                  <a:cubicBezTo>
                    <a:pt x="1042" y="746"/>
                    <a:pt x="1042" y="746"/>
                    <a:pt x="1042" y="746"/>
                  </a:cubicBezTo>
                  <a:lnTo>
                    <a:pt x="789" y="892"/>
                  </a:lnTo>
                  <a:close/>
                  <a:moveTo>
                    <a:pt x="1276" y="483"/>
                  </a:moveTo>
                  <a:cubicBezTo>
                    <a:pt x="1406" y="408"/>
                    <a:pt x="1406" y="408"/>
                    <a:pt x="1406" y="408"/>
                  </a:cubicBezTo>
                  <a:cubicBezTo>
                    <a:pt x="1536" y="483"/>
                    <a:pt x="1536" y="483"/>
                    <a:pt x="1536" y="483"/>
                  </a:cubicBezTo>
                  <a:cubicBezTo>
                    <a:pt x="1536" y="634"/>
                    <a:pt x="1536" y="634"/>
                    <a:pt x="1536" y="634"/>
                  </a:cubicBezTo>
                  <a:cubicBezTo>
                    <a:pt x="1406" y="709"/>
                    <a:pt x="1406" y="709"/>
                    <a:pt x="1406" y="709"/>
                  </a:cubicBezTo>
                  <a:cubicBezTo>
                    <a:pt x="1276" y="634"/>
                    <a:pt x="1276" y="634"/>
                    <a:pt x="1276" y="634"/>
                  </a:cubicBezTo>
                  <a:lnTo>
                    <a:pt x="1276" y="483"/>
                  </a:lnTo>
                  <a:close/>
                  <a:moveTo>
                    <a:pt x="659" y="123"/>
                  </a:moveTo>
                  <a:cubicBezTo>
                    <a:pt x="789" y="48"/>
                    <a:pt x="789" y="48"/>
                    <a:pt x="789" y="48"/>
                  </a:cubicBezTo>
                  <a:cubicBezTo>
                    <a:pt x="919" y="123"/>
                    <a:pt x="919" y="123"/>
                    <a:pt x="919" y="123"/>
                  </a:cubicBezTo>
                  <a:cubicBezTo>
                    <a:pt x="919" y="274"/>
                    <a:pt x="919" y="274"/>
                    <a:pt x="919" y="274"/>
                  </a:cubicBezTo>
                  <a:cubicBezTo>
                    <a:pt x="789" y="349"/>
                    <a:pt x="789" y="349"/>
                    <a:pt x="789" y="349"/>
                  </a:cubicBezTo>
                  <a:cubicBezTo>
                    <a:pt x="659" y="274"/>
                    <a:pt x="659" y="274"/>
                    <a:pt x="659" y="274"/>
                  </a:cubicBezTo>
                  <a:lnTo>
                    <a:pt x="659" y="123"/>
                  </a:lnTo>
                  <a:close/>
                  <a:moveTo>
                    <a:pt x="304" y="634"/>
                  </a:moveTo>
                  <a:cubicBezTo>
                    <a:pt x="174" y="709"/>
                    <a:pt x="174" y="709"/>
                    <a:pt x="174" y="709"/>
                  </a:cubicBezTo>
                  <a:cubicBezTo>
                    <a:pt x="44" y="634"/>
                    <a:pt x="44" y="634"/>
                    <a:pt x="44" y="634"/>
                  </a:cubicBezTo>
                  <a:cubicBezTo>
                    <a:pt x="44" y="483"/>
                    <a:pt x="44" y="483"/>
                    <a:pt x="44" y="483"/>
                  </a:cubicBezTo>
                  <a:cubicBezTo>
                    <a:pt x="174" y="408"/>
                    <a:pt x="174" y="408"/>
                    <a:pt x="174" y="408"/>
                  </a:cubicBezTo>
                  <a:cubicBezTo>
                    <a:pt x="304" y="483"/>
                    <a:pt x="304" y="483"/>
                    <a:pt x="304" y="483"/>
                  </a:cubicBezTo>
                  <a:lnTo>
                    <a:pt x="304" y="634"/>
                  </a:lnTo>
                  <a:close/>
                  <a:moveTo>
                    <a:pt x="304" y="1351"/>
                  </a:moveTo>
                  <a:cubicBezTo>
                    <a:pt x="174" y="1426"/>
                    <a:pt x="174" y="1426"/>
                    <a:pt x="174" y="1426"/>
                  </a:cubicBezTo>
                  <a:cubicBezTo>
                    <a:pt x="44" y="1351"/>
                    <a:pt x="44" y="1351"/>
                    <a:pt x="44" y="1351"/>
                  </a:cubicBezTo>
                  <a:cubicBezTo>
                    <a:pt x="44" y="1200"/>
                    <a:pt x="44" y="1200"/>
                    <a:pt x="44" y="1200"/>
                  </a:cubicBezTo>
                  <a:cubicBezTo>
                    <a:pt x="174" y="1125"/>
                    <a:pt x="174" y="1125"/>
                    <a:pt x="174" y="1125"/>
                  </a:cubicBezTo>
                  <a:cubicBezTo>
                    <a:pt x="304" y="1200"/>
                    <a:pt x="304" y="1200"/>
                    <a:pt x="304" y="1200"/>
                  </a:cubicBezTo>
                  <a:lnTo>
                    <a:pt x="304" y="1351"/>
                  </a:lnTo>
                  <a:close/>
                  <a:moveTo>
                    <a:pt x="514" y="784"/>
                  </a:moveTo>
                  <a:cubicBezTo>
                    <a:pt x="767" y="930"/>
                    <a:pt x="767" y="930"/>
                    <a:pt x="767" y="930"/>
                  </a:cubicBezTo>
                  <a:cubicBezTo>
                    <a:pt x="767" y="1222"/>
                    <a:pt x="767" y="1222"/>
                    <a:pt x="767" y="1222"/>
                  </a:cubicBezTo>
                  <a:cubicBezTo>
                    <a:pt x="514" y="1076"/>
                    <a:pt x="514" y="1076"/>
                    <a:pt x="514" y="1076"/>
                  </a:cubicBezTo>
                  <a:lnTo>
                    <a:pt x="514" y="784"/>
                  </a:lnTo>
                  <a:close/>
                  <a:moveTo>
                    <a:pt x="919" y="1711"/>
                  </a:moveTo>
                  <a:cubicBezTo>
                    <a:pt x="789" y="1786"/>
                    <a:pt x="789" y="1786"/>
                    <a:pt x="789" y="1786"/>
                  </a:cubicBezTo>
                  <a:cubicBezTo>
                    <a:pt x="659" y="1711"/>
                    <a:pt x="659" y="1711"/>
                    <a:pt x="659" y="1711"/>
                  </a:cubicBezTo>
                  <a:cubicBezTo>
                    <a:pt x="659" y="1560"/>
                    <a:pt x="659" y="1560"/>
                    <a:pt x="659" y="1560"/>
                  </a:cubicBezTo>
                  <a:cubicBezTo>
                    <a:pt x="789" y="1485"/>
                    <a:pt x="789" y="1485"/>
                    <a:pt x="789" y="1485"/>
                  </a:cubicBezTo>
                  <a:cubicBezTo>
                    <a:pt x="919" y="1560"/>
                    <a:pt x="919" y="1560"/>
                    <a:pt x="919" y="1560"/>
                  </a:cubicBezTo>
                  <a:lnTo>
                    <a:pt x="919" y="1711"/>
                  </a:lnTo>
                  <a:close/>
                  <a:moveTo>
                    <a:pt x="811" y="1222"/>
                  </a:moveTo>
                  <a:cubicBezTo>
                    <a:pt x="811" y="930"/>
                    <a:pt x="811" y="930"/>
                    <a:pt x="811" y="930"/>
                  </a:cubicBezTo>
                  <a:cubicBezTo>
                    <a:pt x="1064" y="784"/>
                    <a:pt x="1064" y="784"/>
                    <a:pt x="1064" y="784"/>
                  </a:cubicBezTo>
                  <a:cubicBezTo>
                    <a:pt x="1064" y="1076"/>
                    <a:pt x="1064" y="1076"/>
                    <a:pt x="1064" y="1076"/>
                  </a:cubicBezTo>
                  <a:lnTo>
                    <a:pt x="811" y="1222"/>
                  </a:lnTo>
                  <a:close/>
                  <a:moveTo>
                    <a:pt x="1276" y="1200"/>
                  </a:moveTo>
                  <a:cubicBezTo>
                    <a:pt x="1406" y="1125"/>
                    <a:pt x="1406" y="1125"/>
                    <a:pt x="1406" y="1125"/>
                  </a:cubicBezTo>
                  <a:cubicBezTo>
                    <a:pt x="1536" y="1200"/>
                    <a:pt x="1536" y="1200"/>
                    <a:pt x="1536" y="1200"/>
                  </a:cubicBezTo>
                  <a:cubicBezTo>
                    <a:pt x="1536" y="1351"/>
                    <a:pt x="1536" y="1351"/>
                    <a:pt x="1536" y="1351"/>
                  </a:cubicBezTo>
                  <a:cubicBezTo>
                    <a:pt x="1406" y="1426"/>
                    <a:pt x="1406" y="1426"/>
                    <a:pt x="1406" y="1426"/>
                  </a:cubicBezTo>
                  <a:cubicBezTo>
                    <a:pt x="1276" y="1351"/>
                    <a:pt x="1276" y="1351"/>
                    <a:pt x="1276" y="1351"/>
                  </a:cubicBezTo>
                  <a:lnTo>
                    <a:pt x="1276" y="120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
        <p:nvSpPr>
          <p:cNvPr id="11" name="Rectangle 10"/>
          <p:cNvSpPr/>
          <p:nvPr/>
        </p:nvSpPr>
        <p:spPr>
          <a:xfrm>
            <a:off x="1482289" y="4649532"/>
            <a:ext cx="2069592" cy="1764792"/>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2400" b="1" kern="0" dirty="0">
                <a:solidFill>
                  <a:schemeClr val="accent4"/>
                </a:solidFill>
              </a:rPr>
              <a:t>Data analytics-</a:t>
            </a:r>
            <a:endParaRPr kumimoji="0" lang="cs-CZ" sz="700" b="0" i="0" u="none" strike="noStrike" kern="0" cap="none" spc="0" normalizeH="0" baseline="0" noProof="0" dirty="0">
              <a:ln>
                <a:noFill/>
              </a:ln>
              <a:effectLst/>
              <a:uLnTx/>
              <a:uFillTx/>
            </a:endParaRPr>
          </a:p>
        </p:txBody>
      </p:sp>
      <p:grpSp>
        <p:nvGrpSpPr>
          <p:cNvPr id="21" name="bcgIcons_ArtificialIntelligence">
            <a:extLst>
              <a:ext uri="{FF2B5EF4-FFF2-40B4-BE49-F238E27FC236}">
                <a16:creationId xmlns:a16="http://schemas.microsoft.com/office/drawing/2014/main" id="{F330DCC7-C354-4722-81F3-CF0600F39935}"/>
              </a:ext>
            </a:extLst>
          </p:cNvPr>
          <p:cNvGrpSpPr>
            <a:grpSpLocks noChangeAspect="1"/>
          </p:cNvGrpSpPr>
          <p:nvPr/>
        </p:nvGrpSpPr>
        <p:grpSpPr bwMode="auto">
          <a:xfrm>
            <a:off x="3065178" y="1440347"/>
            <a:ext cx="1290447" cy="1291590"/>
            <a:chOff x="2145" y="465"/>
            <a:chExt cx="3387" cy="3390"/>
          </a:xfrm>
          <a:solidFill>
            <a:schemeClr val="accent2"/>
          </a:solidFill>
        </p:grpSpPr>
        <p:sp>
          <p:nvSpPr>
            <p:cNvPr id="23" name="Freeform 41">
              <a:extLst>
                <a:ext uri="{FF2B5EF4-FFF2-40B4-BE49-F238E27FC236}">
                  <a16:creationId xmlns:a16="http://schemas.microsoft.com/office/drawing/2014/main" id="{DEC52359-A4D3-4772-BAA1-700CF371BFE7}"/>
                </a:ext>
              </a:extLst>
            </p:cNvPr>
            <p:cNvSpPr>
              <a:spLocks noEditPoints="1"/>
            </p:cNvSpPr>
            <p:nvPr/>
          </p:nvSpPr>
          <p:spPr bwMode="auto">
            <a:xfrm>
              <a:off x="2145" y="465"/>
              <a:ext cx="3387" cy="3390"/>
            </a:xfrm>
            <a:custGeom>
              <a:avLst/>
              <a:gdLst>
                <a:gd name="T0" fmla="*/ 258 w 1808"/>
                <a:gd name="T1" fmla="*/ 1528 h 1808"/>
                <a:gd name="T2" fmla="*/ 1528 w 1808"/>
                <a:gd name="T3" fmla="*/ 258 h 1808"/>
                <a:gd name="T4" fmla="*/ 1528 w 1808"/>
                <a:gd name="T5" fmla="*/ 1550 h 1808"/>
                <a:gd name="T6" fmla="*/ 1506 w 1808"/>
                <a:gd name="T7" fmla="*/ 302 h 1808"/>
                <a:gd name="T8" fmla="*/ 550 w 1808"/>
                <a:gd name="T9" fmla="*/ 180 h 1808"/>
                <a:gd name="T10" fmla="*/ 506 w 1808"/>
                <a:gd name="T11" fmla="*/ 22 h 1808"/>
                <a:gd name="T12" fmla="*/ 550 w 1808"/>
                <a:gd name="T13" fmla="*/ 180 h 1808"/>
                <a:gd name="T14" fmla="*/ 779 w 1808"/>
                <a:gd name="T15" fmla="*/ 0 h 1808"/>
                <a:gd name="T16" fmla="*/ 779 w 1808"/>
                <a:gd name="T17" fmla="*/ 202 h 1808"/>
                <a:gd name="T18" fmla="*/ 1051 w 1808"/>
                <a:gd name="T19" fmla="*/ 22 h 1808"/>
                <a:gd name="T20" fmla="*/ 1007 w 1808"/>
                <a:gd name="T21" fmla="*/ 180 h 1808"/>
                <a:gd name="T22" fmla="*/ 1302 w 1808"/>
                <a:gd name="T23" fmla="*/ 180 h 1808"/>
                <a:gd name="T24" fmla="*/ 1258 w 1808"/>
                <a:gd name="T25" fmla="*/ 22 h 1808"/>
                <a:gd name="T26" fmla="*/ 1302 w 1808"/>
                <a:gd name="T27" fmla="*/ 180 h 1808"/>
                <a:gd name="T28" fmla="*/ 528 w 1808"/>
                <a:gd name="T29" fmla="*/ 1606 h 1808"/>
                <a:gd name="T30" fmla="*/ 528 w 1808"/>
                <a:gd name="T31" fmla="*/ 1808 h 1808"/>
                <a:gd name="T32" fmla="*/ 801 w 1808"/>
                <a:gd name="T33" fmla="*/ 1628 h 1808"/>
                <a:gd name="T34" fmla="*/ 757 w 1808"/>
                <a:gd name="T35" fmla="*/ 1786 h 1808"/>
                <a:gd name="T36" fmla="*/ 1051 w 1808"/>
                <a:gd name="T37" fmla="*/ 1786 h 1808"/>
                <a:gd name="T38" fmla="*/ 1007 w 1808"/>
                <a:gd name="T39" fmla="*/ 1628 h 1808"/>
                <a:gd name="T40" fmla="*/ 1051 w 1808"/>
                <a:gd name="T41" fmla="*/ 1786 h 1808"/>
                <a:gd name="T42" fmla="*/ 1280 w 1808"/>
                <a:gd name="T43" fmla="*/ 1606 h 1808"/>
                <a:gd name="T44" fmla="*/ 1280 w 1808"/>
                <a:gd name="T45" fmla="*/ 1808 h 1808"/>
                <a:gd name="T46" fmla="*/ 1786 w 1808"/>
                <a:gd name="T47" fmla="*/ 506 h 1808"/>
                <a:gd name="T48" fmla="*/ 1628 w 1808"/>
                <a:gd name="T49" fmla="*/ 550 h 1808"/>
                <a:gd name="T50" fmla="*/ 1808 w 1808"/>
                <a:gd name="T51" fmla="*/ 779 h 1808"/>
                <a:gd name="T52" fmla="*/ 1606 w 1808"/>
                <a:gd name="T53" fmla="*/ 779 h 1808"/>
                <a:gd name="T54" fmla="*/ 1808 w 1808"/>
                <a:gd name="T55" fmla="*/ 779 h 1808"/>
                <a:gd name="T56" fmla="*/ 1628 w 1808"/>
                <a:gd name="T57" fmla="*/ 1007 h 1808"/>
                <a:gd name="T58" fmla="*/ 1786 w 1808"/>
                <a:gd name="T59" fmla="*/ 1051 h 1808"/>
                <a:gd name="T60" fmla="*/ 1786 w 1808"/>
                <a:gd name="T61" fmla="*/ 1258 h 1808"/>
                <a:gd name="T62" fmla="*/ 1628 w 1808"/>
                <a:gd name="T63" fmla="*/ 1302 h 1808"/>
                <a:gd name="T64" fmla="*/ 202 w 1808"/>
                <a:gd name="T65" fmla="*/ 528 h 1808"/>
                <a:gd name="T66" fmla="*/ 0 w 1808"/>
                <a:gd name="T67" fmla="*/ 528 h 1808"/>
                <a:gd name="T68" fmla="*/ 202 w 1808"/>
                <a:gd name="T69" fmla="*/ 528 h 1808"/>
                <a:gd name="T70" fmla="*/ 22 w 1808"/>
                <a:gd name="T71" fmla="*/ 757 h 1808"/>
                <a:gd name="T72" fmla="*/ 180 w 1808"/>
                <a:gd name="T73" fmla="*/ 801 h 1808"/>
                <a:gd name="T74" fmla="*/ 180 w 1808"/>
                <a:gd name="T75" fmla="*/ 1007 h 1808"/>
                <a:gd name="T76" fmla="*/ 22 w 1808"/>
                <a:gd name="T77" fmla="*/ 1051 h 1808"/>
                <a:gd name="T78" fmla="*/ 202 w 1808"/>
                <a:gd name="T79" fmla="*/ 1280 h 1808"/>
                <a:gd name="T80" fmla="*/ 0 w 1808"/>
                <a:gd name="T81" fmla="*/ 1280 h 1808"/>
                <a:gd name="T82" fmla="*/ 202 w 1808"/>
                <a:gd name="T83" fmla="*/ 1280 h 1808"/>
                <a:gd name="T84" fmla="*/ 1303 w 1808"/>
                <a:gd name="T85" fmla="*/ 611 h 1808"/>
                <a:gd name="T86" fmla="*/ 913 w 1808"/>
                <a:gd name="T87" fmla="*/ 448 h 1808"/>
                <a:gd name="T88" fmla="*/ 522 w 1808"/>
                <a:gd name="T89" fmla="*/ 611 h 1808"/>
                <a:gd name="T90" fmla="*/ 463 w 1808"/>
                <a:gd name="T91" fmla="*/ 996 h 1808"/>
                <a:gd name="T92" fmla="*/ 677 w 1808"/>
                <a:gd name="T93" fmla="*/ 1339 h 1808"/>
                <a:gd name="T94" fmla="*/ 1001 w 1808"/>
                <a:gd name="T95" fmla="*/ 1408 h 1808"/>
                <a:gd name="T96" fmla="*/ 1362 w 1808"/>
                <a:gd name="T97" fmla="*/ 996 h 1808"/>
                <a:gd name="T98" fmla="*/ 707 w 1808"/>
                <a:gd name="T99" fmla="*/ 1308 h 1808"/>
                <a:gd name="T100" fmla="*/ 548 w 1808"/>
                <a:gd name="T101" fmla="*/ 1126 h 1808"/>
                <a:gd name="T102" fmla="*/ 536 w 1808"/>
                <a:gd name="T103" fmla="*/ 862 h 1808"/>
                <a:gd name="T104" fmla="*/ 640 w 1808"/>
                <a:gd name="T105" fmla="*/ 581 h 1808"/>
                <a:gd name="T106" fmla="*/ 887 w 1808"/>
                <a:gd name="T107" fmla="*/ 485 h 1808"/>
                <a:gd name="T108" fmla="*/ 826 w 1808"/>
                <a:gd name="T109" fmla="*/ 1364 h 1808"/>
                <a:gd name="T110" fmla="*/ 1179 w 1808"/>
                <a:gd name="T111" fmla="*/ 1211 h 1808"/>
                <a:gd name="T112" fmla="*/ 935 w 1808"/>
                <a:gd name="T113" fmla="*/ 489 h 1808"/>
                <a:gd name="T114" fmla="*/ 1170 w 1808"/>
                <a:gd name="T115" fmla="*/ 563 h 1808"/>
                <a:gd name="T116" fmla="*/ 1314 w 1808"/>
                <a:gd name="T117" fmla="*/ 765 h 1808"/>
                <a:gd name="T118" fmla="*/ 1318 w 1808"/>
                <a:gd name="T119" fmla="*/ 996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8" h="1808">
                  <a:moveTo>
                    <a:pt x="1528" y="1550"/>
                  </a:moveTo>
                  <a:cubicBezTo>
                    <a:pt x="280" y="1550"/>
                    <a:pt x="280" y="1550"/>
                    <a:pt x="280" y="1550"/>
                  </a:cubicBezTo>
                  <a:cubicBezTo>
                    <a:pt x="268" y="1550"/>
                    <a:pt x="258" y="1540"/>
                    <a:pt x="258" y="1528"/>
                  </a:cubicBezTo>
                  <a:cubicBezTo>
                    <a:pt x="258" y="280"/>
                    <a:pt x="258" y="280"/>
                    <a:pt x="258" y="280"/>
                  </a:cubicBezTo>
                  <a:cubicBezTo>
                    <a:pt x="258" y="268"/>
                    <a:pt x="268" y="258"/>
                    <a:pt x="280" y="258"/>
                  </a:cubicBezTo>
                  <a:cubicBezTo>
                    <a:pt x="1528" y="258"/>
                    <a:pt x="1528" y="258"/>
                    <a:pt x="1528" y="258"/>
                  </a:cubicBezTo>
                  <a:cubicBezTo>
                    <a:pt x="1540" y="258"/>
                    <a:pt x="1550" y="268"/>
                    <a:pt x="1550" y="280"/>
                  </a:cubicBezTo>
                  <a:cubicBezTo>
                    <a:pt x="1550" y="1528"/>
                    <a:pt x="1550" y="1528"/>
                    <a:pt x="1550" y="1528"/>
                  </a:cubicBezTo>
                  <a:cubicBezTo>
                    <a:pt x="1550" y="1540"/>
                    <a:pt x="1540" y="1550"/>
                    <a:pt x="1528" y="1550"/>
                  </a:cubicBezTo>
                  <a:close/>
                  <a:moveTo>
                    <a:pt x="302" y="1506"/>
                  </a:moveTo>
                  <a:cubicBezTo>
                    <a:pt x="1506" y="1506"/>
                    <a:pt x="1506" y="1506"/>
                    <a:pt x="1506" y="1506"/>
                  </a:cubicBezTo>
                  <a:cubicBezTo>
                    <a:pt x="1506" y="302"/>
                    <a:pt x="1506" y="302"/>
                    <a:pt x="1506" y="302"/>
                  </a:cubicBezTo>
                  <a:cubicBezTo>
                    <a:pt x="302" y="302"/>
                    <a:pt x="302" y="302"/>
                    <a:pt x="302" y="302"/>
                  </a:cubicBezTo>
                  <a:lnTo>
                    <a:pt x="302" y="1506"/>
                  </a:lnTo>
                  <a:close/>
                  <a:moveTo>
                    <a:pt x="550" y="180"/>
                  </a:moveTo>
                  <a:cubicBezTo>
                    <a:pt x="550" y="22"/>
                    <a:pt x="550" y="22"/>
                    <a:pt x="550" y="22"/>
                  </a:cubicBezTo>
                  <a:cubicBezTo>
                    <a:pt x="550" y="10"/>
                    <a:pt x="540" y="0"/>
                    <a:pt x="528" y="0"/>
                  </a:cubicBezTo>
                  <a:cubicBezTo>
                    <a:pt x="516" y="0"/>
                    <a:pt x="506" y="10"/>
                    <a:pt x="506" y="22"/>
                  </a:cubicBezTo>
                  <a:cubicBezTo>
                    <a:pt x="506" y="180"/>
                    <a:pt x="506" y="180"/>
                    <a:pt x="506" y="180"/>
                  </a:cubicBezTo>
                  <a:cubicBezTo>
                    <a:pt x="506" y="192"/>
                    <a:pt x="516" y="202"/>
                    <a:pt x="528" y="202"/>
                  </a:cubicBezTo>
                  <a:cubicBezTo>
                    <a:pt x="540" y="202"/>
                    <a:pt x="550" y="192"/>
                    <a:pt x="550" y="180"/>
                  </a:cubicBezTo>
                  <a:close/>
                  <a:moveTo>
                    <a:pt x="801" y="180"/>
                  </a:moveTo>
                  <a:cubicBezTo>
                    <a:pt x="801" y="22"/>
                    <a:pt x="801" y="22"/>
                    <a:pt x="801" y="22"/>
                  </a:cubicBezTo>
                  <a:cubicBezTo>
                    <a:pt x="801" y="10"/>
                    <a:pt x="791" y="0"/>
                    <a:pt x="779" y="0"/>
                  </a:cubicBezTo>
                  <a:cubicBezTo>
                    <a:pt x="766" y="0"/>
                    <a:pt x="757" y="10"/>
                    <a:pt x="757" y="22"/>
                  </a:cubicBezTo>
                  <a:cubicBezTo>
                    <a:pt x="757" y="180"/>
                    <a:pt x="757" y="180"/>
                    <a:pt x="757" y="180"/>
                  </a:cubicBezTo>
                  <a:cubicBezTo>
                    <a:pt x="757" y="192"/>
                    <a:pt x="766" y="202"/>
                    <a:pt x="779" y="202"/>
                  </a:cubicBezTo>
                  <a:cubicBezTo>
                    <a:pt x="791" y="202"/>
                    <a:pt x="801" y="192"/>
                    <a:pt x="801" y="180"/>
                  </a:cubicBezTo>
                  <a:close/>
                  <a:moveTo>
                    <a:pt x="1051" y="180"/>
                  </a:moveTo>
                  <a:cubicBezTo>
                    <a:pt x="1051" y="22"/>
                    <a:pt x="1051" y="22"/>
                    <a:pt x="1051" y="22"/>
                  </a:cubicBezTo>
                  <a:cubicBezTo>
                    <a:pt x="1051" y="10"/>
                    <a:pt x="1042" y="0"/>
                    <a:pt x="1029" y="0"/>
                  </a:cubicBezTo>
                  <a:cubicBezTo>
                    <a:pt x="1017" y="0"/>
                    <a:pt x="1007" y="10"/>
                    <a:pt x="1007" y="22"/>
                  </a:cubicBezTo>
                  <a:cubicBezTo>
                    <a:pt x="1007" y="180"/>
                    <a:pt x="1007" y="180"/>
                    <a:pt x="1007" y="180"/>
                  </a:cubicBezTo>
                  <a:cubicBezTo>
                    <a:pt x="1007" y="192"/>
                    <a:pt x="1017" y="202"/>
                    <a:pt x="1029" y="202"/>
                  </a:cubicBezTo>
                  <a:cubicBezTo>
                    <a:pt x="1042" y="202"/>
                    <a:pt x="1051" y="192"/>
                    <a:pt x="1051" y="180"/>
                  </a:cubicBezTo>
                  <a:close/>
                  <a:moveTo>
                    <a:pt x="1302" y="180"/>
                  </a:moveTo>
                  <a:cubicBezTo>
                    <a:pt x="1302" y="22"/>
                    <a:pt x="1302" y="22"/>
                    <a:pt x="1302" y="22"/>
                  </a:cubicBezTo>
                  <a:cubicBezTo>
                    <a:pt x="1302" y="10"/>
                    <a:pt x="1292" y="0"/>
                    <a:pt x="1280" y="0"/>
                  </a:cubicBezTo>
                  <a:cubicBezTo>
                    <a:pt x="1268" y="0"/>
                    <a:pt x="1258" y="10"/>
                    <a:pt x="1258" y="22"/>
                  </a:cubicBezTo>
                  <a:cubicBezTo>
                    <a:pt x="1258" y="180"/>
                    <a:pt x="1258" y="180"/>
                    <a:pt x="1258" y="180"/>
                  </a:cubicBezTo>
                  <a:cubicBezTo>
                    <a:pt x="1258" y="192"/>
                    <a:pt x="1268" y="202"/>
                    <a:pt x="1280" y="202"/>
                  </a:cubicBezTo>
                  <a:cubicBezTo>
                    <a:pt x="1292" y="202"/>
                    <a:pt x="1302" y="192"/>
                    <a:pt x="1302" y="180"/>
                  </a:cubicBezTo>
                  <a:close/>
                  <a:moveTo>
                    <a:pt x="550" y="1786"/>
                  </a:moveTo>
                  <a:cubicBezTo>
                    <a:pt x="550" y="1628"/>
                    <a:pt x="550" y="1628"/>
                    <a:pt x="550" y="1628"/>
                  </a:cubicBezTo>
                  <a:cubicBezTo>
                    <a:pt x="550" y="1616"/>
                    <a:pt x="540" y="1606"/>
                    <a:pt x="528" y="1606"/>
                  </a:cubicBezTo>
                  <a:cubicBezTo>
                    <a:pt x="516" y="1606"/>
                    <a:pt x="506" y="1616"/>
                    <a:pt x="506" y="1628"/>
                  </a:cubicBezTo>
                  <a:cubicBezTo>
                    <a:pt x="506" y="1786"/>
                    <a:pt x="506" y="1786"/>
                    <a:pt x="506" y="1786"/>
                  </a:cubicBezTo>
                  <a:cubicBezTo>
                    <a:pt x="506" y="1798"/>
                    <a:pt x="516" y="1808"/>
                    <a:pt x="528" y="1808"/>
                  </a:cubicBezTo>
                  <a:cubicBezTo>
                    <a:pt x="540" y="1808"/>
                    <a:pt x="550" y="1798"/>
                    <a:pt x="550" y="1786"/>
                  </a:cubicBezTo>
                  <a:close/>
                  <a:moveTo>
                    <a:pt x="801" y="1786"/>
                  </a:moveTo>
                  <a:cubicBezTo>
                    <a:pt x="801" y="1628"/>
                    <a:pt x="801" y="1628"/>
                    <a:pt x="801" y="1628"/>
                  </a:cubicBezTo>
                  <a:cubicBezTo>
                    <a:pt x="801" y="1616"/>
                    <a:pt x="791" y="1606"/>
                    <a:pt x="779" y="1606"/>
                  </a:cubicBezTo>
                  <a:cubicBezTo>
                    <a:pt x="766" y="1606"/>
                    <a:pt x="757" y="1616"/>
                    <a:pt x="757" y="1628"/>
                  </a:cubicBezTo>
                  <a:cubicBezTo>
                    <a:pt x="757" y="1786"/>
                    <a:pt x="757" y="1786"/>
                    <a:pt x="757" y="1786"/>
                  </a:cubicBezTo>
                  <a:cubicBezTo>
                    <a:pt x="757" y="1798"/>
                    <a:pt x="766" y="1808"/>
                    <a:pt x="779" y="1808"/>
                  </a:cubicBezTo>
                  <a:cubicBezTo>
                    <a:pt x="791" y="1808"/>
                    <a:pt x="801" y="1798"/>
                    <a:pt x="801" y="1786"/>
                  </a:cubicBezTo>
                  <a:close/>
                  <a:moveTo>
                    <a:pt x="1051" y="1786"/>
                  </a:moveTo>
                  <a:cubicBezTo>
                    <a:pt x="1051" y="1628"/>
                    <a:pt x="1051" y="1628"/>
                    <a:pt x="1051" y="1628"/>
                  </a:cubicBezTo>
                  <a:cubicBezTo>
                    <a:pt x="1051" y="1616"/>
                    <a:pt x="1042" y="1606"/>
                    <a:pt x="1029" y="1606"/>
                  </a:cubicBezTo>
                  <a:cubicBezTo>
                    <a:pt x="1017" y="1606"/>
                    <a:pt x="1007" y="1616"/>
                    <a:pt x="1007" y="1628"/>
                  </a:cubicBezTo>
                  <a:cubicBezTo>
                    <a:pt x="1007" y="1786"/>
                    <a:pt x="1007" y="1786"/>
                    <a:pt x="1007" y="1786"/>
                  </a:cubicBezTo>
                  <a:cubicBezTo>
                    <a:pt x="1007" y="1798"/>
                    <a:pt x="1017" y="1808"/>
                    <a:pt x="1029" y="1808"/>
                  </a:cubicBezTo>
                  <a:cubicBezTo>
                    <a:pt x="1042" y="1808"/>
                    <a:pt x="1051" y="1798"/>
                    <a:pt x="1051" y="1786"/>
                  </a:cubicBezTo>
                  <a:close/>
                  <a:moveTo>
                    <a:pt x="1302" y="1786"/>
                  </a:moveTo>
                  <a:cubicBezTo>
                    <a:pt x="1302" y="1628"/>
                    <a:pt x="1302" y="1628"/>
                    <a:pt x="1302" y="1628"/>
                  </a:cubicBezTo>
                  <a:cubicBezTo>
                    <a:pt x="1302" y="1616"/>
                    <a:pt x="1292" y="1606"/>
                    <a:pt x="1280" y="1606"/>
                  </a:cubicBezTo>
                  <a:cubicBezTo>
                    <a:pt x="1268" y="1606"/>
                    <a:pt x="1258" y="1616"/>
                    <a:pt x="1258" y="1628"/>
                  </a:cubicBezTo>
                  <a:cubicBezTo>
                    <a:pt x="1258" y="1786"/>
                    <a:pt x="1258" y="1786"/>
                    <a:pt x="1258" y="1786"/>
                  </a:cubicBezTo>
                  <a:cubicBezTo>
                    <a:pt x="1258" y="1798"/>
                    <a:pt x="1268" y="1808"/>
                    <a:pt x="1280" y="1808"/>
                  </a:cubicBezTo>
                  <a:cubicBezTo>
                    <a:pt x="1292" y="1808"/>
                    <a:pt x="1302" y="1798"/>
                    <a:pt x="1302" y="1786"/>
                  </a:cubicBezTo>
                  <a:close/>
                  <a:moveTo>
                    <a:pt x="1808" y="528"/>
                  </a:moveTo>
                  <a:cubicBezTo>
                    <a:pt x="1808" y="516"/>
                    <a:pt x="1798" y="506"/>
                    <a:pt x="1786" y="506"/>
                  </a:cubicBezTo>
                  <a:cubicBezTo>
                    <a:pt x="1628" y="506"/>
                    <a:pt x="1628" y="506"/>
                    <a:pt x="1628" y="506"/>
                  </a:cubicBezTo>
                  <a:cubicBezTo>
                    <a:pt x="1616" y="506"/>
                    <a:pt x="1606" y="516"/>
                    <a:pt x="1606" y="528"/>
                  </a:cubicBezTo>
                  <a:cubicBezTo>
                    <a:pt x="1606" y="540"/>
                    <a:pt x="1616" y="550"/>
                    <a:pt x="1628" y="550"/>
                  </a:cubicBezTo>
                  <a:cubicBezTo>
                    <a:pt x="1786" y="550"/>
                    <a:pt x="1786" y="550"/>
                    <a:pt x="1786" y="550"/>
                  </a:cubicBezTo>
                  <a:cubicBezTo>
                    <a:pt x="1798" y="550"/>
                    <a:pt x="1808" y="540"/>
                    <a:pt x="1808" y="528"/>
                  </a:cubicBezTo>
                  <a:close/>
                  <a:moveTo>
                    <a:pt x="1808" y="779"/>
                  </a:moveTo>
                  <a:cubicBezTo>
                    <a:pt x="1808" y="766"/>
                    <a:pt x="1798" y="757"/>
                    <a:pt x="1786" y="757"/>
                  </a:cubicBezTo>
                  <a:cubicBezTo>
                    <a:pt x="1628" y="757"/>
                    <a:pt x="1628" y="757"/>
                    <a:pt x="1628" y="757"/>
                  </a:cubicBezTo>
                  <a:cubicBezTo>
                    <a:pt x="1616" y="757"/>
                    <a:pt x="1606" y="766"/>
                    <a:pt x="1606" y="779"/>
                  </a:cubicBezTo>
                  <a:cubicBezTo>
                    <a:pt x="1606" y="791"/>
                    <a:pt x="1616" y="801"/>
                    <a:pt x="1628" y="801"/>
                  </a:cubicBezTo>
                  <a:cubicBezTo>
                    <a:pt x="1786" y="801"/>
                    <a:pt x="1786" y="801"/>
                    <a:pt x="1786" y="801"/>
                  </a:cubicBezTo>
                  <a:cubicBezTo>
                    <a:pt x="1798" y="801"/>
                    <a:pt x="1808" y="791"/>
                    <a:pt x="1808" y="779"/>
                  </a:cubicBezTo>
                  <a:close/>
                  <a:moveTo>
                    <a:pt x="1808" y="1029"/>
                  </a:moveTo>
                  <a:cubicBezTo>
                    <a:pt x="1808" y="1017"/>
                    <a:pt x="1798" y="1007"/>
                    <a:pt x="1786" y="1007"/>
                  </a:cubicBezTo>
                  <a:cubicBezTo>
                    <a:pt x="1628" y="1007"/>
                    <a:pt x="1628" y="1007"/>
                    <a:pt x="1628" y="1007"/>
                  </a:cubicBezTo>
                  <a:cubicBezTo>
                    <a:pt x="1616" y="1007"/>
                    <a:pt x="1606" y="1017"/>
                    <a:pt x="1606" y="1029"/>
                  </a:cubicBezTo>
                  <a:cubicBezTo>
                    <a:pt x="1606" y="1042"/>
                    <a:pt x="1616" y="1051"/>
                    <a:pt x="1628" y="1051"/>
                  </a:cubicBezTo>
                  <a:cubicBezTo>
                    <a:pt x="1786" y="1051"/>
                    <a:pt x="1786" y="1051"/>
                    <a:pt x="1786" y="1051"/>
                  </a:cubicBezTo>
                  <a:cubicBezTo>
                    <a:pt x="1798" y="1051"/>
                    <a:pt x="1808" y="1042"/>
                    <a:pt x="1808" y="1029"/>
                  </a:cubicBezTo>
                  <a:close/>
                  <a:moveTo>
                    <a:pt x="1808" y="1280"/>
                  </a:moveTo>
                  <a:cubicBezTo>
                    <a:pt x="1808" y="1268"/>
                    <a:pt x="1798" y="1258"/>
                    <a:pt x="1786" y="1258"/>
                  </a:cubicBezTo>
                  <a:cubicBezTo>
                    <a:pt x="1628" y="1258"/>
                    <a:pt x="1628" y="1258"/>
                    <a:pt x="1628" y="1258"/>
                  </a:cubicBezTo>
                  <a:cubicBezTo>
                    <a:pt x="1616" y="1258"/>
                    <a:pt x="1606" y="1268"/>
                    <a:pt x="1606" y="1280"/>
                  </a:cubicBezTo>
                  <a:cubicBezTo>
                    <a:pt x="1606" y="1292"/>
                    <a:pt x="1616" y="1302"/>
                    <a:pt x="1628" y="1302"/>
                  </a:cubicBezTo>
                  <a:cubicBezTo>
                    <a:pt x="1786" y="1302"/>
                    <a:pt x="1786" y="1302"/>
                    <a:pt x="1786" y="1302"/>
                  </a:cubicBezTo>
                  <a:cubicBezTo>
                    <a:pt x="1798" y="1302"/>
                    <a:pt x="1808" y="1292"/>
                    <a:pt x="1808" y="1280"/>
                  </a:cubicBezTo>
                  <a:close/>
                  <a:moveTo>
                    <a:pt x="202" y="528"/>
                  </a:moveTo>
                  <a:cubicBezTo>
                    <a:pt x="202" y="516"/>
                    <a:pt x="192" y="506"/>
                    <a:pt x="180" y="506"/>
                  </a:cubicBezTo>
                  <a:cubicBezTo>
                    <a:pt x="22" y="506"/>
                    <a:pt x="22" y="506"/>
                    <a:pt x="22" y="506"/>
                  </a:cubicBezTo>
                  <a:cubicBezTo>
                    <a:pt x="10" y="506"/>
                    <a:pt x="0" y="516"/>
                    <a:pt x="0" y="528"/>
                  </a:cubicBezTo>
                  <a:cubicBezTo>
                    <a:pt x="0" y="540"/>
                    <a:pt x="10" y="550"/>
                    <a:pt x="22" y="550"/>
                  </a:cubicBezTo>
                  <a:cubicBezTo>
                    <a:pt x="180" y="550"/>
                    <a:pt x="180" y="550"/>
                    <a:pt x="180" y="550"/>
                  </a:cubicBezTo>
                  <a:cubicBezTo>
                    <a:pt x="192" y="550"/>
                    <a:pt x="202" y="540"/>
                    <a:pt x="202" y="528"/>
                  </a:cubicBezTo>
                  <a:close/>
                  <a:moveTo>
                    <a:pt x="202" y="779"/>
                  </a:moveTo>
                  <a:cubicBezTo>
                    <a:pt x="202" y="766"/>
                    <a:pt x="192" y="757"/>
                    <a:pt x="180" y="757"/>
                  </a:cubicBezTo>
                  <a:cubicBezTo>
                    <a:pt x="22" y="757"/>
                    <a:pt x="22" y="757"/>
                    <a:pt x="22" y="757"/>
                  </a:cubicBezTo>
                  <a:cubicBezTo>
                    <a:pt x="10" y="757"/>
                    <a:pt x="0" y="766"/>
                    <a:pt x="0" y="779"/>
                  </a:cubicBezTo>
                  <a:cubicBezTo>
                    <a:pt x="0" y="791"/>
                    <a:pt x="10" y="801"/>
                    <a:pt x="22" y="801"/>
                  </a:cubicBezTo>
                  <a:cubicBezTo>
                    <a:pt x="180" y="801"/>
                    <a:pt x="180" y="801"/>
                    <a:pt x="180" y="801"/>
                  </a:cubicBezTo>
                  <a:cubicBezTo>
                    <a:pt x="192" y="801"/>
                    <a:pt x="202" y="791"/>
                    <a:pt x="202" y="779"/>
                  </a:cubicBezTo>
                  <a:close/>
                  <a:moveTo>
                    <a:pt x="202" y="1029"/>
                  </a:moveTo>
                  <a:cubicBezTo>
                    <a:pt x="202" y="1017"/>
                    <a:pt x="192" y="1007"/>
                    <a:pt x="180" y="1007"/>
                  </a:cubicBezTo>
                  <a:cubicBezTo>
                    <a:pt x="22" y="1007"/>
                    <a:pt x="22" y="1007"/>
                    <a:pt x="22" y="1007"/>
                  </a:cubicBezTo>
                  <a:cubicBezTo>
                    <a:pt x="10" y="1007"/>
                    <a:pt x="0" y="1017"/>
                    <a:pt x="0" y="1029"/>
                  </a:cubicBezTo>
                  <a:cubicBezTo>
                    <a:pt x="0" y="1042"/>
                    <a:pt x="10" y="1051"/>
                    <a:pt x="22" y="1051"/>
                  </a:cubicBezTo>
                  <a:cubicBezTo>
                    <a:pt x="180" y="1051"/>
                    <a:pt x="180" y="1051"/>
                    <a:pt x="180" y="1051"/>
                  </a:cubicBezTo>
                  <a:cubicBezTo>
                    <a:pt x="192" y="1051"/>
                    <a:pt x="202" y="1042"/>
                    <a:pt x="202" y="1029"/>
                  </a:cubicBezTo>
                  <a:close/>
                  <a:moveTo>
                    <a:pt x="202" y="1280"/>
                  </a:moveTo>
                  <a:cubicBezTo>
                    <a:pt x="202" y="1268"/>
                    <a:pt x="192" y="1258"/>
                    <a:pt x="180" y="1258"/>
                  </a:cubicBezTo>
                  <a:cubicBezTo>
                    <a:pt x="22" y="1258"/>
                    <a:pt x="22" y="1258"/>
                    <a:pt x="22" y="1258"/>
                  </a:cubicBezTo>
                  <a:cubicBezTo>
                    <a:pt x="10" y="1258"/>
                    <a:pt x="0" y="1268"/>
                    <a:pt x="0" y="1280"/>
                  </a:cubicBezTo>
                  <a:cubicBezTo>
                    <a:pt x="0" y="1292"/>
                    <a:pt x="10" y="1302"/>
                    <a:pt x="22" y="1302"/>
                  </a:cubicBezTo>
                  <a:cubicBezTo>
                    <a:pt x="180" y="1302"/>
                    <a:pt x="180" y="1302"/>
                    <a:pt x="180" y="1302"/>
                  </a:cubicBezTo>
                  <a:cubicBezTo>
                    <a:pt x="192" y="1302"/>
                    <a:pt x="202" y="1292"/>
                    <a:pt x="202" y="1280"/>
                  </a:cubicBezTo>
                  <a:close/>
                  <a:moveTo>
                    <a:pt x="1333" y="873"/>
                  </a:moveTo>
                  <a:cubicBezTo>
                    <a:pt x="1350" y="840"/>
                    <a:pt x="1358" y="803"/>
                    <a:pt x="1358" y="765"/>
                  </a:cubicBezTo>
                  <a:cubicBezTo>
                    <a:pt x="1358" y="708"/>
                    <a:pt x="1339" y="654"/>
                    <a:pt x="1303" y="611"/>
                  </a:cubicBezTo>
                  <a:cubicBezTo>
                    <a:pt x="1278" y="581"/>
                    <a:pt x="1247" y="558"/>
                    <a:pt x="1211" y="544"/>
                  </a:cubicBezTo>
                  <a:cubicBezTo>
                    <a:pt x="1194" y="458"/>
                    <a:pt x="1121" y="396"/>
                    <a:pt x="1036" y="396"/>
                  </a:cubicBezTo>
                  <a:cubicBezTo>
                    <a:pt x="990" y="396"/>
                    <a:pt x="946" y="414"/>
                    <a:pt x="913" y="448"/>
                  </a:cubicBezTo>
                  <a:cubicBezTo>
                    <a:pt x="879" y="414"/>
                    <a:pt x="835" y="396"/>
                    <a:pt x="789" y="396"/>
                  </a:cubicBezTo>
                  <a:cubicBezTo>
                    <a:pt x="704" y="396"/>
                    <a:pt x="631" y="458"/>
                    <a:pt x="614" y="544"/>
                  </a:cubicBezTo>
                  <a:cubicBezTo>
                    <a:pt x="578" y="558"/>
                    <a:pt x="547" y="581"/>
                    <a:pt x="522" y="611"/>
                  </a:cubicBezTo>
                  <a:cubicBezTo>
                    <a:pt x="487" y="654"/>
                    <a:pt x="467" y="708"/>
                    <a:pt x="467" y="765"/>
                  </a:cubicBezTo>
                  <a:cubicBezTo>
                    <a:pt x="467" y="803"/>
                    <a:pt x="476" y="840"/>
                    <a:pt x="492" y="873"/>
                  </a:cubicBezTo>
                  <a:cubicBezTo>
                    <a:pt x="473" y="910"/>
                    <a:pt x="463" y="952"/>
                    <a:pt x="463" y="996"/>
                  </a:cubicBezTo>
                  <a:cubicBezTo>
                    <a:pt x="463" y="1053"/>
                    <a:pt x="480" y="1107"/>
                    <a:pt x="513" y="1152"/>
                  </a:cubicBezTo>
                  <a:cubicBezTo>
                    <a:pt x="537" y="1186"/>
                    <a:pt x="570" y="1214"/>
                    <a:pt x="607" y="1232"/>
                  </a:cubicBezTo>
                  <a:cubicBezTo>
                    <a:pt x="618" y="1270"/>
                    <a:pt x="643" y="1307"/>
                    <a:pt x="677" y="1339"/>
                  </a:cubicBezTo>
                  <a:cubicBezTo>
                    <a:pt x="723" y="1383"/>
                    <a:pt x="777" y="1408"/>
                    <a:pt x="826" y="1408"/>
                  </a:cubicBezTo>
                  <a:cubicBezTo>
                    <a:pt x="863" y="1408"/>
                    <a:pt x="895" y="1391"/>
                    <a:pt x="914" y="1363"/>
                  </a:cubicBezTo>
                  <a:cubicBezTo>
                    <a:pt x="934" y="1389"/>
                    <a:pt x="964" y="1408"/>
                    <a:pt x="1001" y="1408"/>
                  </a:cubicBezTo>
                  <a:cubicBezTo>
                    <a:pt x="1089" y="1408"/>
                    <a:pt x="1190" y="1325"/>
                    <a:pt x="1218" y="1232"/>
                  </a:cubicBezTo>
                  <a:cubicBezTo>
                    <a:pt x="1256" y="1214"/>
                    <a:pt x="1288" y="1186"/>
                    <a:pt x="1313" y="1152"/>
                  </a:cubicBezTo>
                  <a:cubicBezTo>
                    <a:pt x="1345" y="1107"/>
                    <a:pt x="1362" y="1053"/>
                    <a:pt x="1362" y="996"/>
                  </a:cubicBezTo>
                  <a:cubicBezTo>
                    <a:pt x="1362" y="952"/>
                    <a:pt x="1352" y="910"/>
                    <a:pt x="1333" y="873"/>
                  </a:cubicBezTo>
                  <a:close/>
                  <a:moveTo>
                    <a:pt x="826" y="1364"/>
                  </a:moveTo>
                  <a:cubicBezTo>
                    <a:pt x="788" y="1364"/>
                    <a:pt x="745" y="1343"/>
                    <a:pt x="707" y="1308"/>
                  </a:cubicBezTo>
                  <a:cubicBezTo>
                    <a:pt x="676" y="1278"/>
                    <a:pt x="655" y="1244"/>
                    <a:pt x="647" y="1211"/>
                  </a:cubicBezTo>
                  <a:cubicBezTo>
                    <a:pt x="645" y="1204"/>
                    <a:pt x="640" y="1199"/>
                    <a:pt x="634" y="1196"/>
                  </a:cubicBezTo>
                  <a:cubicBezTo>
                    <a:pt x="600" y="1181"/>
                    <a:pt x="570" y="1157"/>
                    <a:pt x="548" y="1126"/>
                  </a:cubicBezTo>
                  <a:cubicBezTo>
                    <a:pt x="521" y="1089"/>
                    <a:pt x="507" y="1043"/>
                    <a:pt x="507" y="996"/>
                  </a:cubicBezTo>
                  <a:cubicBezTo>
                    <a:pt x="507" y="956"/>
                    <a:pt x="517" y="917"/>
                    <a:pt x="536" y="884"/>
                  </a:cubicBezTo>
                  <a:cubicBezTo>
                    <a:pt x="540" y="877"/>
                    <a:pt x="540" y="869"/>
                    <a:pt x="536" y="862"/>
                  </a:cubicBezTo>
                  <a:cubicBezTo>
                    <a:pt x="520" y="833"/>
                    <a:pt x="511" y="799"/>
                    <a:pt x="511" y="765"/>
                  </a:cubicBezTo>
                  <a:cubicBezTo>
                    <a:pt x="511" y="719"/>
                    <a:pt x="527" y="674"/>
                    <a:pt x="556" y="639"/>
                  </a:cubicBezTo>
                  <a:cubicBezTo>
                    <a:pt x="578" y="611"/>
                    <a:pt x="607" y="592"/>
                    <a:pt x="640" y="581"/>
                  </a:cubicBezTo>
                  <a:cubicBezTo>
                    <a:pt x="648" y="579"/>
                    <a:pt x="654" y="572"/>
                    <a:pt x="655" y="563"/>
                  </a:cubicBezTo>
                  <a:cubicBezTo>
                    <a:pt x="664" y="493"/>
                    <a:pt x="722" y="440"/>
                    <a:pt x="789" y="440"/>
                  </a:cubicBezTo>
                  <a:cubicBezTo>
                    <a:pt x="826" y="440"/>
                    <a:pt x="862" y="456"/>
                    <a:pt x="887" y="485"/>
                  </a:cubicBezTo>
                  <a:cubicBezTo>
                    <a:pt x="891" y="489"/>
                    <a:pt x="891" y="489"/>
                    <a:pt x="891" y="489"/>
                  </a:cubicBezTo>
                  <a:cubicBezTo>
                    <a:pt x="891" y="1301"/>
                    <a:pt x="891" y="1301"/>
                    <a:pt x="891" y="1301"/>
                  </a:cubicBezTo>
                  <a:cubicBezTo>
                    <a:pt x="887" y="1339"/>
                    <a:pt x="861" y="1364"/>
                    <a:pt x="826" y="1364"/>
                  </a:cubicBezTo>
                  <a:close/>
                  <a:moveTo>
                    <a:pt x="1277" y="1126"/>
                  </a:moveTo>
                  <a:cubicBezTo>
                    <a:pt x="1255" y="1157"/>
                    <a:pt x="1225" y="1181"/>
                    <a:pt x="1191" y="1196"/>
                  </a:cubicBezTo>
                  <a:cubicBezTo>
                    <a:pt x="1185" y="1199"/>
                    <a:pt x="1180" y="1204"/>
                    <a:pt x="1179" y="1211"/>
                  </a:cubicBezTo>
                  <a:cubicBezTo>
                    <a:pt x="1160" y="1288"/>
                    <a:pt x="1072" y="1364"/>
                    <a:pt x="1001" y="1364"/>
                  </a:cubicBezTo>
                  <a:cubicBezTo>
                    <a:pt x="965" y="1364"/>
                    <a:pt x="938" y="1331"/>
                    <a:pt x="935" y="1300"/>
                  </a:cubicBezTo>
                  <a:cubicBezTo>
                    <a:pt x="935" y="489"/>
                    <a:pt x="935" y="489"/>
                    <a:pt x="935" y="489"/>
                  </a:cubicBezTo>
                  <a:cubicBezTo>
                    <a:pt x="938" y="485"/>
                    <a:pt x="938" y="485"/>
                    <a:pt x="938" y="485"/>
                  </a:cubicBezTo>
                  <a:cubicBezTo>
                    <a:pt x="963" y="456"/>
                    <a:pt x="999" y="440"/>
                    <a:pt x="1036" y="440"/>
                  </a:cubicBezTo>
                  <a:cubicBezTo>
                    <a:pt x="1103" y="440"/>
                    <a:pt x="1161" y="493"/>
                    <a:pt x="1170" y="563"/>
                  </a:cubicBezTo>
                  <a:cubicBezTo>
                    <a:pt x="1171" y="572"/>
                    <a:pt x="1177" y="579"/>
                    <a:pt x="1185" y="581"/>
                  </a:cubicBezTo>
                  <a:cubicBezTo>
                    <a:pt x="1218" y="592"/>
                    <a:pt x="1247" y="611"/>
                    <a:pt x="1269" y="639"/>
                  </a:cubicBezTo>
                  <a:cubicBezTo>
                    <a:pt x="1298" y="674"/>
                    <a:pt x="1314" y="719"/>
                    <a:pt x="1314" y="765"/>
                  </a:cubicBezTo>
                  <a:cubicBezTo>
                    <a:pt x="1314" y="799"/>
                    <a:pt x="1305" y="833"/>
                    <a:pt x="1289" y="862"/>
                  </a:cubicBezTo>
                  <a:cubicBezTo>
                    <a:pt x="1285" y="869"/>
                    <a:pt x="1285" y="877"/>
                    <a:pt x="1289" y="884"/>
                  </a:cubicBezTo>
                  <a:cubicBezTo>
                    <a:pt x="1308" y="917"/>
                    <a:pt x="1318" y="956"/>
                    <a:pt x="1318" y="996"/>
                  </a:cubicBezTo>
                  <a:cubicBezTo>
                    <a:pt x="1318" y="1043"/>
                    <a:pt x="1304" y="1089"/>
                    <a:pt x="1277" y="11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42">
              <a:extLst>
                <a:ext uri="{FF2B5EF4-FFF2-40B4-BE49-F238E27FC236}">
                  <a16:creationId xmlns:a16="http://schemas.microsoft.com/office/drawing/2014/main" id="{5C72B76C-FD77-4495-AFAE-916F2F4A4590}"/>
                </a:ext>
              </a:extLst>
            </p:cNvPr>
            <p:cNvSpPr>
              <a:spLocks noEditPoints="1"/>
            </p:cNvSpPr>
            <p:nvPr/>
          </p:nvSpPr>
          <p:spPr bwMode="auto">
            <a:xfrm>
              <a:off x="3177" y="1373"/>
              <a:ext cx="1354" cy="1567"/>
            </a:xfrm>
            <a:custGeom>
              <a:avLst/>
              <a:gdLst>
                <a:gd name="T0" fmla="*/ 296 w 723"/>
                <a:gd name="T1" fmla="*/ 815 h 836"/>
                <a:gd name="T2" fmla="*/ 186 w 723"/>
                <a:gd name="T3" fmla="*/ 792 h 836"/>
                <a:gd name="T4" fmla="*/ 138 w 723"/>
                <a:gd name="T5" fmla="*/ 715 h 836"/>
                <a:gd name="T6" fmla="*/ 186 w 723"/>
                <a:gd name="T7" fmla="*/ 695 h 836"/>
                <a:gd name="T8" fmla="*/ 8 w 723"/>
                <a:gd name="T9" fmla="*/ 565 h 836"/>
                <a:gd name="T10" fmla="*/ 23 w 723"/>
                <a:gd name="T11" fmla="*/ 422 h 836"/>
                <a:gd name="T12" fmla="*/ 86 w 723"/>
                <a:gd name="T13" fmla="*/ 362 h 836"/>
                <a:gd name="T14" fmla="*/ 151 w 723"/>
                <a:gd name="T15" fmla="*/ 439 h 836"/>
                <a:gd name="T16" fmla="*/ 163 w 723"/>
                <a:gd name="T17" fmla="*/ 399 h 836"/>
                <a:gd name="T18" fmla="*/ 133 w 723"/>
                <a:gd name="T19" fmla="*/ 256 h 836"/>
                <a:gd name="T20" fmla="*/ 83 w 723"/>
                <a:gd name="T21" fmla="*/ 315 h 836"/>
                <a:gd name="T22" fmla="*/ 4 w 723"/>
                <a:gd name="T23" fmla="*/ 281 h 836"/>
                <a:gd name="T24" fmla="*/ 102 w 723"/>
                <a:gd name="T25" fmla="*/ 139 h 836"/>
                <a:gd name="T26" fmla="*/ 145 w 723"/>
                <a:gd name="T27" fmla="*/ 127 h 836"/>
                <a:gd name="T28" fmla="*/ 254 w 723"/>
                <a:gd name="T29" fmla="*/ 139 h 836"/>
                <a:gd name="T30" fmla="*/ 148 w 723"/>
                <a:gd name="T31" fmla="*/ 83 h 836"/>
                <a:gd name="T32" fmla="*/ 296 w 723"/>
                <a:gd name="T33" fmla="*/ 22 h 836"/>
                <a:gd name="T34" fmla="*/ 281 w 723"/>
                <a:gd name="T35" fmla="*/ 529 h 836"/>
                <a:gd name="T36" fmla="*/ 127 w 723"/>
                <a:gd name="T37" fmla="*/ 575 h 836"/>
                <a:gd name="T38" fmla="*/ 193 w 723"/>
                <a:gd name="T39" fmla="*/ 611 h 836"/>
                <a:gd name="T40" fmla="*/ 545 w 723"/>
                <a:gd name="T41" fmla="*/ 732 h 836"/>
                <a:gd name="T42" fmla="*/ 545 w 723"/>
                <a:gd name="T43" fmla="*/ 688 h 836"/>
                <a:gd name="T44" fmla="*/ 623 w 723"/>
                <a:gd name="T45" fmla="*/ 672 h 836"/>
                <a:gd name="T46" fmla="*/ 723 w 723"/>
                <a:gd name="T47" fmla="*/ 512 h 836"/>
                <a:gd name="T48" fmla="*/ 589 w 723"/>
                <a:gd name="T49" fmla="*/ 468 h 836"/>
                <a:gd name="T50" fmla="*/ 491 w 723"/>
                <a:gd name="T51" fmla="*/ 534 h 836"/>
                <a:gd name="T52" fmla="*/ 466 w 723"/>
                <a:gd name="T53" fmla="*/ 515 h 836"/>
                <a:gd name="T54" fmla="*/ 562 w 723"/>
                <a:gd name="T55" fmla="*/ 390 h 836"/>
                <a:gd name="T56" fmla="*/ 606 w 723"/>
                <a:gd name="T57" fmla="*/ 384 h 836"/>
                <a:gd name="T58" fmla="*/ 683 w 723"/>
                <a:gd name="T59" fmla="*/ 386 h 836"/>
                <a:gd name="T60" fmla="*/ 719 w 723"/>
                <a:gd name="T61" fmla="*/ 281 h 836"/>
                <a:gd name="T62" fmla="*/ 621 w 723"/>
                <a:gd name="T63" fmla="*/ 139 h 836"/>
                <a:gd name="T64" fmla="*/ 585 w 723"/>
                <a:gd name="T65" fmla="*/ 132 h 836"/>
                <a:gd name="T66" fmla="*/ 483 w 723"/>
                <a:gd name="T67" fmla="*/ 142 h 836"/>
                <a:gd name="T68" fmla="*/ 576 w 723"/>
                <a:gd name="T69" fmla="*/ 88 h 836"/>
                <a:gd name="T70" fmla="*/ 485 w 723"/>
                <a:gd name="T71" fmla="*/ 0 h 836"/>
                <a:gd name="T72" fmla="*/ 428 w 723"/>
                <a:gd name="T73" fmla="*/ 239 h 836"/>
                <a:gd name="T74" fmla="*/ 595 w 723"/>
                <a:gd name="T75" fmla="*/ 241 h 836"/>
                <a:gd name="T76" fmla="*/ 440 w 723"/>
                <a:gd name="T77" fmla="*/ 287 h 836"/>
                <a:gd name="T78" fmla="*/ 428 w 723"/>
                <a:gd name="T79" fmla="*/ 813 h 836"/>
                <a:gd name="T80" fmla="*/ 581 w 723"/>
                <a:gd name="T81" fmla="*/ 729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3" h="836">
                  <a:moveTo>
                    <a:pt x="296" y="575"/>
                  </a:moveTo>
                  <a:cubicBezTo>
                    <a:pt x="296" y="815"/>
                    <a:pt x="296" y="815"/>
                    <a:pt x="296" y="815"/>
                  </a:cubicBezTo>
                  <a:cubicBezTo>
                    <a:pt x="294" y="825"/>
                    <a:pt x="290" y="836"/>
                    <a:pt x="275" y="836"/>
                  </a:cubicBezTo>
                  <a:cubicBezTo>
                    <a:pt x="249" y="836"/>
                    <a:pt x="215" y="819"/>
                    <a:pt x="186" y="792"/>
                  </a:cubicBezTo>
                  <a:cubicBezTo>
                    <a:pt x="162" y="768"/>
                    <a:pt x="144" y="741"/>
                    <a:pt x="138" y="716"/>
                  </a:cubicBezTo>
                  <a:cubicBezTo>
                    <a:pt x="138" y="715"/>
                    <a:pt x="138" y="715"/>
                    <a:pt x="138" y="715"/>
                  </a:cubicBezTo>
                  <a:cubicBezTo>
                    <a:pt x="146" y="716"/>
                    <a:pt x="155" y="717"/>
                    <a:pt x="164" y="717"/>
                  </a:cubicBezTo>
                  <a:cubicBezTo>
                    <a:pt x="176" y="717"/>
                    <a:pt x="186" y="707"/>
                    <a:pt x="186" y="695"/>
                  </a:cubicBezTo>
                  <a:cubicBezTo>
                    <a:pt x="186" y="683"/>
                    <a:pt x="176" y="673"/>
                    <a:pt x="164" y="673"/>
                  </a:cubicBezTo>
                  <a:cubicBezTo>
                    <a:pt x="92" y="673"/>
                    <a:pt x="31" y="628"/>
                    <a:pt x="8" y="565"/>
                  </a:cubicBezTo>
                  <a:cubicBezTo>
                    <a:pt x="2" y="548"/>
                    <a:pt x="0" y="530"/>
                    <a:pt x="0" y="512"/>
                  </a:cubicBezTo>
                  <a:cubicBezTo>
                    <a:pt x="0" y="479"/>
                    <a:pt x="8" y="449"/>
                    <a:pt x="23" y="422"/>
                  </a:cubicBezTo>
                  <a:cubicBezTo>
                    <a:pt x="30" y="410"/>
                    <a:pt x="30" y="410"/>
                    <a:pt x="30" y="410"/>
                  </a:cubicBezTo>
                  <a:cubicBezTo>
                    <a:pt x="45" y="390"/>
                    <a:pt x="64" y="374"/>
                    <a:pt x="86" y="362"/>
                  </a:cubicBezTo>
                  <a:cubicBezTo>
                    <a:pt x="93" y="391"/>
                    <a:pt x="111" y="418"/>
                    <a:pt x="139" y="435"/>
                  </a:cubicBezTo>
                  <a:cubicBezTo>
                    <a:pt x="142" y="438"/>
                    <a:pt x="146" y="439"/>
                    <a:pt x="151" y="439"/>
                  </a:cubicBezTo>
                  <a:cubicBezTo>
                    <a:pt x="158" y="439"/>
                    <a:pt x="165" y="435"/>
                    <a:pt x="169" y="429"/>
                  </a:cubicBezTo>
                  <a:cubicBezTo>
                    <a:pt x="176" y="419"/>
                    <a:pt x="173" y="405"/>
                    <a:pt x="163" y="399"/>
                  </a:cubicBezTo>
                  <a:cubicBezTo>
                    <a:pt x="125" y="374"/>
                    <a:pt x="115" y="324"/>
                    <a:pt x="139" y="287"/>
                  </a:cubicBezTo>
                  <a:cubicBezTo>
                    <a:pt x="146" y="276"/>
                    <a:pt x="143" y="263"/>
                    <a:pt x="133" y="256"/>
                  </a:cubicBezTo>
                  <a:cubicBezTo>
                    <a:pt x="122" y="250"/>
                    <a:pt x="109" y="252"/>
                    <a:pt x="102" y="263"/>
                  </a:cubicBezTo>
                  <a:cubicBezTo>
                    <a:pt x="91" y="279"/>
                    <a:pt x="85" y="297"/>
                    <a:pt x="83" y="315"/>
                  </a:cubicBezTo>
                  <a:cubicBezTo>
                    <a:pt x="60" y="324"/>
                    <a:pt x="39" y="337"/>
                    <a:pt x="22" y="354"/>
                  </a:cubicBezTo>
                  <a:cubicBezTo>
                    <a:pt x="10" y="331"/>
                    <a:pt x="4" y="307"/>
                    <a:pt x="4" y="281"/>
                  </a:cubicBezTo>
                  <a:cubicBezTo>
                    <a:pt x="4" y="245"/>
                    <a:pt x="16" y="210"/>
                    <a:pt x="39" y="183"/>
                  </a:cubicBezTo>
                  <a:cubicBezTo>
                    <a:pt x="56" y="162"/>
                    <a:pt x="78" y="147"/>
                    <a:pt x="102" y="139"/>
                  </a:cubicBezTo>
                  <a:cubicBezTo>
                    <a:pt x="140" y="127"/>
                    <a:pt x="140" y="127"/>
                    <a:pt x="140" y="127"/>
                  </a:cubicBezTo>
                  <a:cubicBezTo>
                    <a:pt x="142" y="127"/>
                    <a:pt x="143" y="127"/>
                    <a:pt x="145" y="127"/>
                  </a:cubicBezTo>
                  <a:cubicBezTo>
                    <a:pt x="173" y="127"/>
                    <a:pt x="200" y="134"/>
                    <a:pt x="224" y="148"/>
                  </a:cubicBezTo>
                  <a:cubicBezTo>
                    <a:pt x="234" y="154"/>
                    <a:pt x="248" y="150"/>
                    <a:pt x="254" y="139"/>
                  </a:cubicBezTo>
                  <a:cubicBezTo>
                    <a:pt x="260" y="129"/>
                    <a:pt x="256" y="115"/>
                    <a:pt x="245" y="109"/>
                  </a:cubicBezTo>
                  <a:cubicBezTo>
                    <a:pt x="216" y="93"/>
                    <a:pt x="182" y="84"/>
                    <a:pt x="148" y="83"/>
                  </a:cubicBezTo>
                  <a:cubicBezTo>
                    <a:pt x="155" y="35"/>
                    <a:pt x="193" y="0"/>
                    <a:pt x="238" y="0"/>
                  </a:cubicBezTo>
                  <a:cubicBezTo>
                    <a:pt x="259" y="0"/>
                    <a:pt x="279" y="8"/>
                    <a:pt x="296" y="22"/>
                  </a:cubicBezTo>
                  <a:cubicBezTo>
                    <a:pt x="296" y="511"/>
                    <a:pt x="296" y="511"/>
                    <a:pt x="296" y="511"/>
                  </a:cubicBezTo>
                  <a:cubicBezTo>
                    <a:pt x="291" y="517"/>
                    <a:pt x="287" y="523"/>
                    <a:pt x="281" y="529"/>
                  </a:cubicBezTo>
                  <a:cubicBezTo>
                    <a:pt x="249" y="563"/>
                    <a:pt x="199" y="576"/>
                    <a:pt x="154" y="561"/>
                  </a:cubicBezTo>
                  <a:cubicBezTo>
                    <a:pt x="143" y="557"/>
                    <a:pt x="130" y="563"/>
                    <a:pt x="127" y="575"/>
                  </a:cubicBezTo>
                  <a:cubicBezTo>
                    <a:pt x="123" y="586"/>
                    <a:pt x="129" y="598"/>
                    <a:pt x="140" y="602"/>
                  </a:cubicBezTo>
                  <a:cubicBezTo>
                    <a:pt x="158" y="608"/>
                    <a:pt x="175" y="611"/>
                    <a:pt x="193" y="611"/>
                  </a:cubicBezTo>
                  <a:cubicBezTo>
                    <a:pt x="230" y="611"/>
                    <a:pt x="266" y="598"/>
                    <a:pt x="296" y="575"/>
                  </a:cubicBezTo>
                  <a:close/>
                  <a:moveTo>
                    <a:pt x="545" y="732"/>
                  </a:moveTo>
                  <a:cubicBezTo>
                    <a:pt x="532" y="732"/>
                    <a:pt x="523" y="722"/>
                    <a:pt x="523" y="710"/>
                  </a:cubicBezTo>
                  <a:cubicBezTo>
                    <a:pt x="523" y="698"/>
                    <a:pt x="532" y="688"/>
                    <a:pt x="545" y="688"/>
                  </a:cubicBezTo>
                  <a:cubicBezTo>
                    <a:pt x="569" y="688"/>
                    <a:pt x="593" y="683"/>
                    <a:pt x="615" y="675"/>
                  </a:cubicBezTo>
                  <a:cubicBezTo>
                    <a:pt x="623" y="672"/>
                    <a:pt x="623" y="672"/>
                    <a:pt x="623" y="672"/>
                  </a:cubicBezTo>
                  <a:cubicBezTo>
                    <a:pt x="649" y="660"/>
                    <a:pt x="673" y="641"/>
                    <a:pt x="690" y="617"/>
                  </a:cubicBezTo>
                  <a:cubicBezTo>
                    <a:pt x="712" y="586"/>
                    <a:pt x="723" y="550"/>
                    <a:pt x="723" y="512"/>
                  </a:cubicBezTo>
                  <a:cubicBezTo>
                    <a:pt x="723" y="481"/>
                    <a:pt x="716" y="453"/>
                    <a:pt x="703" y="427"/>
                  </a:cubicBezTo>
                  <a:cubicBezTo>
                    <a:pt x="671" y="452"/>
                    <a:pt x="632" y="467"/>
                    <a:pt x="589" y="468"/>
                  </a:cubicBezTo>
                  <a:cubicBezTo>
                    <a:pt x="586" y="473"/>
                    <a:pt x="583" y="478"/>
                    <a:pt x="579" y="483"/>
                  </a:cubicBezTo>
                  <a:cubicBezTo>
                    <a:pt x="558" y="511"/>
                    <a:pt x="526" y="529"/>
                    <a:pt x="491" y="534"/>
                  </a:cubicBezTo>
                  <a:cubicBezTo>
                    <a:pt x="490" y="534"/>
                    <a:pt x="489" y="534"/>
                    <a:pt x="488" y="534"/>
                  </a:cubicBezTo>
                  <a:cubicBezTo>
                    <a:pt x="477" y="534"/>
                    <a:pt x="468" y="526"/>
                    <a:pt x="466" y="515"/>
                  </a:cubicBezTo>
                  <a:cubicBezTo>
                    <a:pt x="465" y="503"/>
                    <a:pt x="473" y="492"/>
                    <a:pt x="485" y="490"/>
                  </a:cubicBezTo>
                  <a:cubicBezTo>
                    <a:pt x="534" y="484"/>
                    <a:pt x="569" y="439"/>
                    <a:pt x="562" y="390"/>
                  </a:cubicBezTo>
                  <a:cubicBezTo>
                    <a:pt x="561" y="378"/>
                    <a:pt x="569" y="367"/>
                    <a:pt x="581" y="365"/>
                  </a:cubicBezTo>
                  <a:cubicBezTo>
                    <a:pt x="594" y="363"/>
                    <a:pt x="605" y="372"/>
                    <a:pt x="606" y="384"/>
                  </a:cubicBezTo>
                  <a:cubicBezTo>
                    <a:pt x="608" y="397"/>
                    <a:pt x="608" y="410"/>
                    <a:pt x="606" y="423"/>
                  </a:cubicBezTo>
                  <a:cubicBezTo>
                    <a:pt x="635" y="419"/>
                    <a:pt x="662" y="405"/>
                    <a:pt x="683" y="386"/>
                  </a:cubicBezTo>
                  <a:cubicBezTo>
                    <a:pt x="700" y="357"/>
                    <a:pt x="700" y="357"/>
                    <a:pt x="700" y="357"/>
                  </a:cubicBezTo>
                  <a:cubicBezTo>
                    <a:pt x="713" y="334"/>
                    <a:pt x="719" y="308"/>
                    <a:pt x="719" y="281"/>
                  </a:cubicBezTo>
                  <a:cubicBezTo>
                    <a:pt x="719" y="245"/>
                    <a:pt x="707" y="210"/>
                    <a:pt x="684" y="183"/>
                  </a:cubicBezTo>
                  <a:cubicBezTo>
                    <a:pt x="667" y="162"/>
                    <a:pt x="645" y="147"/>
                    <a:pt x="621" y="139"/>
                  </a:cubicBezTo>
                  <a:cubicBezTo>
                    <a:pt x="600" y="132"/>
                    <a:pt x="600" y="132"/>
                    <a:pt x="600" y="132"/>
                  </a:cubicBezTo>
                  <a:cubicBezTo>
                    <a:pt x="595" y="132"/>
                    <a:pt x="590" y="132"/>
                    <a:pt x="585" y="132"/>
                  </a:cubicBezTo>
                  <a:cubicBezTo>
                    <a:pt x="560" y="132"/>
                    <a:pt x="535" y="138"/>
                    <a:pt x="513" y="151"/>
                  </a:cubicBezTo>
                  <a:cubicBezTo>
                    <a:pt x="502" y="157"/>
                    <a:pt x="489" y="153"/>
                    <a:pt x="483" y="142"/>
                  </a:cubicBezTo>
                  <a:cubicBezTo>
                    <a:pt x="477" y="132"/>
                    <a:pt x="481" y="118"/>
                    <a:pt x="491" y="112"/>
                  </a:cubicBezTo>
                  <a:cubicBezTo>
                    <a:pt x="517" y="98"/>
                    <a:pt x="546" y="89"/>
                    <a:pt x="576" y="88"/>
                  </a:cubicBezTo>
                  <a:cubicBezTo>
                    <a:pt x="575" y="85"/>
                    <a:pt x="575" y="85"/>
                    <a:pt x="575" y="85"/>
                  </a:cubicBezTo>
                  <a:cubicBezTo>
                    <a:pt x="569" y="36"/>
                    <a:pt x="530" y="0"/>
                    <a:pt x="485" y="0"/>
                  </a:cubicBezTo>
                  <a:cubicBezTo>
                    <a:pt x="464" y="0"/>
                    <a:pt x="444" y="8"/>
                    <a:pt x="428" y="22"/>
                  </a:cubicBezTo>
                  <a:cubicBezTo>
                    <a:pt x="428" y="239"/>
                    <a:pt x="428" y="239"/>
                    <a:pt x="428" y="239"/>
                  </a:cubicBezTo>
                  <a:cubicBezTo>
                    <a:pt x="471" y="206"/>
                    <a:pt x="529" y="196"/>
                    <a:pt x="581" y="213"/>
                  </a:cubicBezTo>
                  <a:cubicBezTo>
                    <a:pt x="593" y="217"/>
                    <a:pt x="599" y="230"/>
                    <a:pt x="595" y="241"/>
                  </a:cubicBezTo>
                  <a:cubicBezTo>
                    <a:pt x="591" y="253"/>
                    <a:pt x="579" y="259"/>
                    <a:pt x="567" y="255"/>
                  </a:cubicBezTo>
                  <a:cubicBezTo>
                    <a:pt x="523" y="240"/>
                    <a:pt x="473" y="253"/>
                    <a:pt x="440" y="287"/>
                  </a:cubicBezTo>
                  <a:cubicBezTo>
                    <a:pt x="436" y="292"/>
                    <a:pt x="431" y="297"/>
                    <a:pt x="428" y="303"/>
                  </a:cubicBezTo>
                  <a:cubicBezTo>
                    <a:pt x="428" y="813"/>
                    <a:pt x="428" y="813"/>
                    <a:pt x="428" y="813"/>
                  </a:cubicBezTo>
                  <a:cubicBezTo>
                    <a:pt x="430" y="823"/>
                    <a:pt x="439" y="836"/>
                    <a:pt x="450" y="836"/>
                  </a:cubicBezTo>
                  <a:cubicBezTo>
                    <a:pt x="497" y="836"/>
                    <a:pt x="561" y="782"/>
                    <a:pt x="581" y="729"/>
                  </a:cubicBezTo>
                  <a:cubicBezTo>
                    <a:pt x="569" y="731"/>
                    <a:pt x="557" y="732"/>
                    <a:pt x="545" y="7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10" name="Straight Connector 9"/>
          <p:cNvCxnSpPr>
            <a:cxnSpLocks/>
          </p:cNvCxnSpPr>
          <p:nvPr/>
        </p:nvCxnSpPr>
        <p:spPr>
          <a:xfrm flipH="1">
            <a:off x="3359696" y="4581128"/>
            <a:ext cx="956703" cy="0"/>
          </a:xfrm>
          <a:prstGeom prst="line">
            <a:avLst/>
          </a:prstGeom>
          <a:noFill/>
          <a:ln w="31750" cap="rnd" cmpd="sng" algn="ctr">
            <a:solidFill>
              <a:srgbClr val="9A9A9A"/>
            </a:solidFill>
            <a:prstDash val="solid"/>
            <a:round/>
            <a:headEnd type="oval" w="lg" len="lg"/>
            <a:tailEnd type="none" w="sm" len="sm"/>
          </a:ln>
          <a:effectLst/>
        </p:spPr>
      </p:cxnSp>
      <p:cxnSp>
        <p:nvCxnSpPr>
          <p:cNvPr id="15" name="Straight Connector 14"/>
          <p:cNvCxnSpPr>
            <a:cxnSpLocks/>
            <a:endCxn id="16" idx="1"/>
          </p:cNvCxnSpPr>
          <p:nvPr/>
        </p:nvCxnSpPr>
        <p:spPr>
          <a:xfrm flipV="1">
            <a:off x="7583125" y="3930396"/>
            <a:ext cx="1020599" cy="14424"/>
          </a:xfrm>
          <a:prstGeom prst="line">
            <a:avLst/>
          </a:prstGeom>
          <a:noFill/>
          <a:ln w="31750" cap="rnd" cmpd="sng" algn="ctr">
            <a:solidFill>
              <a:srgbClr val="9A9A9A"/>
            </a:solidFill>
            <a:prstDash val="solid"/>
            <a:round/>
            <a:headEnd type="oval" w="lg" len="lg"/>
            <a:tailEnd type="none" w="sm" len="sm"/>
          </a:ln>
          <a:effectLst/>
        </p:spPr>
      </p:cxnSp>
      <p:cxnSp>
        <p:nvCxnSpPr>
          <p:cNvPr id="19" name="Straight Connector 18"/>
          <p:cNvCxnSpPr>
            <a:cxnSpLocks/>
          </p:cNvCxnSpPr>
          <p:nvPr/>
        </p:nvCxnSpPr>
        <p:spPr>
          <a:xfrm flipH="1">
            <a:off x="4655840" y="3168396"/>
            <a:ext cx="936104" cy="0"/>
          </a:xfrm>
          <a:prstGeom prst="line">
            <a:avLst/>
          </a:prstGeom>
          <a:noFill/>
          <a:ln w="31750" cap="rnd" cmpd="sng" algn="ctr">
            <a:solidFill>
              <a:srgbClr val="9A9A9A"/>
            </a:solidFill>
            <a:prstDash val="solid"/>
            <a:round/>
            <a:headEnd type="oval" w="lg" len="lg"/>
            <a:tailEnd type="none" w="sm" len="sm"/>
          </a:ln>
          <a:effectLst/>
        </p:spPr>
      </p:cxnSp>
      <p:grpSp>
        <p:nvGrpSpPr>
          <p:cNvPr id="41" name="bcgIcons_B2B">
            <a:extLst>
              <a:ext uri="{FF2B5EF4-FFF2-40B4-BE49-F238E27FC236}">
                <a16:creationId xmlns:a16="http://schemas.microsoft.com/office/drawing/2014/main" id="{F970D6D5-EF0D-461C-80E4-647729BBB1EB}"/>
              </a:ext>
            </a:extLst>
          </p:cNvPr>
          <p:cNvGrpSpPr>
            <a:grpSpLocks noChangeAspect="1"/>
          </p:cNvGrpSpPr>
          <p:nvPr/>
        </p:nvGrpSpPr>
        <p:grpSpPr bwMode="auto">
          <a:xfrm>
            <a:off x="8924028" y="1598297"/>
            <a:ext cx="1767145" cy="1452213"/>
            <a:chOff x="1987" y="638"/>
            <a:chExt cx="3709" cy="3048"/>
          </a:xfrm>
          <a:solidFill>
            <a:schemeClr val="accent2"/>
          </a:solidFill>
        </p:grpSpPr>
        <p:sp>
          <p:nvSpPr>
            <p:cNvPr id="47" name="Freeform 10">
              <a:extLst>
                <a:ext uri="{FF2B5EF4-FFF2-40B4-BE49-F238E27FC236}">
                  <a16:creationId xmlns:a16="http://schemas.microsoft.com/office/drawing/2014/main" id="{0185B396-8788-4337-ACBD-9EC5800FC2D7}"/>
                </a:ext>
              </a:extLst>
            </p:cNvPr>
            <p:cNvSpPr>
              <a:spLocks noEditPoints="1"/>
            </p:cNvSpPr>
            <p:nvPr/>
          </p:nvSpPr>
          <p:spPr bwMode="auto">
            <a:xfrm>
              <a:off x="1987" y="638"/>
              <a:ext cx="3400" cy="2491"/>
            </a:xfrm>
            <a:custGeom>
              <a:avLst/>
              <a:gdLst>
                <a:gd name="T0" fmla="*/ 678 w 1815"/>
                <a:gd name="T1" fmla="*/ 1247 h 1329"/>
                <a:gd name="T2" fmla="*/ 46 w 1815"/>
                <a:gd name="T3" fmla="*/ 1247 h 1329"/>
                <a:gd name="T4" fmla="*/ 0 w 1815"/>
                <a:gd name="T5" fmla="*/ 1274 h 1329"/>
                <a:gd name="T6" fmla="*/ 712 w 1815"/>
                <a:gd name="T7" fmla="*/ 1329 h 1329"/>
                <a:gd name="T8" fmla="*/ 712 w 1815"/>
                <a:gd name="T9" fmla="*/ 1262 h 1329"/>
                <a:gd name="T10" fmla="*/ 616 w 1815"/>
                <a:gd name="T11" fmla="*/ 285 h 1329"/>
                <a:gd name="T12" fmla="*/ 108 w 1815"/>
                <a:gd name="T13" fmla="*/ 285 h 1329"/>
                <a:gd name="T14" fmla="*/ 24 w 1815"/>
                <a:gd name="T15" fmla="*/ 357 h 1329"/>
                <a:gd name="T16" fmla="*/ 57 w 1815"/>
                <a:gd name="T17" fmla="*/ 441 h 1329"/>
                <a:gd name="T18" fmla="*/ 101 w 1815"/>
                <a:gd name="T19" fmla="*/ 419 h 1329"/>
                <a:gd name="T20" fmla="*/ 68 w 1815"/>
                <a:gd name="T21" fmla="*/ 379 h 1329"/>
                <a:gd name="T22" fmla="*/ 645 w 1815"/>
                <a:gd name="T23" fmla="*/ 397 h 1329"/>
                <a:gd name="T24" fmla="*/ 667 w 1815"/>
                <a:gd name="T25" fmla="*/ 1200 h 1329"/>
                <a:gd name="T26" fmla="*/ 700 w 1815"/>
                <a:gd name="T27" fmla="*/ 419 h 1329"/>
                <a:gd name="T28" fmla="*/ 142 w 1815"/>
                <a:gd name="T29" fmla="*/ 316 h 1329"/>
                <a:gd name="T30" fmla="*/ 133 w 1815"/>
                <a:gd name="T31" fmla="*/ 335 h 1329"/>
                <a:gd name="T32" fmla="*/ 1485 w 1815"/>
                <a:gd name="T33" fmla="*/ 1200 h 1329"/>
                <a:gd name="T34" fmla="*/ 1485 w 1815"/>
                <a:gd name="T35" fmla="*/ 1016 h 1329"/>
                <a:gd name="T36" fmla="*/ 1607 w 1815"/>
                <a:gd name="T37" fmla="*/ 1190 h 1329"/>
                <a:gd name="T38" fmla="*/ 1639 w 1815"/>
                <a:gd name="T39" fmla="*/ 1200 h 1329"/>
                <a:gd name="T40" fmla="*/ 1639 w 1815"/>
                <a:gd name="T41" fmla="*/ 1016 h 1329"/>
                <a:gd name="T42" fmla="*/ 1761 w 1815"/>
                <a:gd name="T43" fmla="*/ 1190 h 1329"/>
                <a:gd name="T44" fmla="*/ 1565 w 1815"/>
                <a:gd name="T45" fmla="*/ 436 h 1329"/>
                <a:gd name="T46" fmla="*/ 1671 w 1815"/>
                <a:gd name="T47" fmla="*/ 436 h 1329"/>
                <a:gd name="T48" fmla="*/ 1575 w 1815"/>
                <a:gd name="T49" fmla="*/ 574 h 1329"/>
                <a:gd name="T50" fmla="*/ 1565 w 1815"/>
                <a:gd name="T51" fmla="*/ 613 h 1329"/>
                <a:gd name="T52" fmla="*/ 1671 w 1815"/>
                <a:gd name="T53" fmla="*/ 613 h 1329"/>
                <a:gd name="T54" fmla="*/ 1575 w 1815"/>
                <a:gd name="T55" fmla="*/ 750 h 1329"/>
                <a:gd name="T56" fmla="*/ 1421 w 1815"/>
                <a:gd name="T57" fmla="*/ 436 h 1329"/>
                <a:gd name="T58" fmla="*/ 1527 w 1815"/>
                <a:gd name="T59" fmla="*/ 436 h 1329"/>
                <a:gd name="T60" fmla="*/ 1431 w 1815"/>
                <a:gd name="T61" fmla="*/ 574 h 1329"/>
                <a:gd name="T62" fmla="*/ 1421 w 1815"/>
                <a:gd name="T63" fmla="*/ 613 h 1329"/>
                <a:gd name="T64" fmla="*/ 1527 w 1815"/>
                <a:gd name="T65" fmla="*/ 613 h 1329"/>
                <a:gd name="T66" fmla="*/ 1431 w 1815"/>
                <a:gd name="T67" fmla="*/ 750 h 1329"/>
                <a:gd name="T68" fmla="*/ 1709 w 1815"/>
                <a:gd name="T69" fmla="*/ 436 h 1329"/>
                <a:gd name="T70" fmla="*/ 1815 w 1815"/>
                <a:gd name="T71" fmla="*/ 436 h 1329"/>
                <a:gd name="T72" fmla="*/ 1719 w 1815"/>
                <a:gd name="T73" fmla="*/ 574 h 1329"/>
                <a:gd name="T74" fmla="*/ 1709 w 1815"/>
                <a:gd name="T75" fmla="*/ 613 h 1329"/>
                <a:gd name="T76" fmla="*/ 1815 w 1815"/>
                <a:gd name="T77" fmla="*/ 613 h 1329"/>
                <a:gd name="T78" fmla="*/ 1719 w 1815"/>
                <a:gd name="T79" fmla="*/ 750 h 1329"/>
                <a:gd name="T80" fmla="*/ 1565 w 1815"/>
                <a:gd name="T81" fmla="*/ 789 h 1329"/>
                <a:gd name="T82" fmla="*/ 1671 w 1815"/>
                <a:gd name="T83" fmla="*/ 789 h 1329"/>
                <a:gd name="T84" fmla="*/ 1575 w 1815"/>
                <a:gd name="T85" fmla="*/ 927 h 1329"/>
                <a:gd name="T86" fmla="*/ 1421 w 1815"/>
                <a:gd name="T87" fmla="*/ 789 h 1329"/>
                <a:gd name="T88" fmla="*/ 1527 w 1815"/>
                <a:gd name="T89" fmla="*/ 789 h 1329"/>
                <a:gd name="T90" fmla="*/ 1431 w 1815"/>
                <a:gd name="T91" fmla="*/ 927 h 1329"/>
                <a:gd name="T92" fmla="*/ 1709 w 1815"/>
                <a:gd name="T93" fmla="*/ 789 h 1329"/>
                <a:gd name="T94" fmla="*/ 1815 w 1815"/>
                <a:gd name="T95" fmla="*/ 789 h 1329"/>
                <a:gd name="T96" fmla="*/ 1719 w 1815"/>
                <a:gd name="T97" fmla="*/ 927 h 1329"/>
                <a:gd name="T98" fmla="*/ 1493 w 1815"/>
                <a:gd name="T99" fmla="*/ 197 h 1329"/>
                <a:gd name="T100" fmla="*/ 1491 w 1815"/>
                <a:gd name="T101" fmla="*/ 201 h 1329"/>
                <a:gd name="T102" fmla="*/ 1488 w 1815"/>
                <a:gd name="T103" fmla="*/ 204 h 1329"/>
                <a:gd name="T104" fmla="*/ 1481 w 1815"/>
                <a:gd name="T105" fmla="*/ 208 h 1329"/>
                <a:gd name="T106" fmla="*/ 1476 w 1815"/>
                <a:gd name="T107" fmla="*/ 209 h 1329"/>
                <a:gd name="T108" fmla="*/ 1379 w 1815"/>
                <a:gd name="T109" fmla="*/ 213 h 1329"/>
                <a:gd name="T110" fmla="*/ 1409 w 1815"/>
                <a:gd name="T111" fmla="*/ 168 h 1329"/>
                <a:gd name="T112" fmla="*/ 506 w 1815"/>
                <a:gd name="T113" fmla="*/ 210 h 1329"/>
                <a:gd name="T114" fmla="*/ 990 w 1815"/>
                <a:gd name="T115" fmla="*/ 0 h 1329"/>
                <a:gd name="T116" fmla="*/ 1436 w 1815"/>
                <a:gd name="T117" fmla="*/ 77 h 1329"/>
                <a:gd name="T118" fmla="*/ 1495 w 1815"/>
                <a:gd name="T119" fmla="*/ 181 h 1329"/>
                <a:gd name="T120" fmla="*/ 1496 w 1815"/>
                <a:gd name="T121" fmla="*/ 185 h 1329"/>
                <a:gd name="T122" fmla="*/ 1495 w 1815"/>
                <a:gd name="T123" fmla="*/ 193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29">
                  <a:moveTo>
                    <a:pt x="712" y="1262"/>
                  </a:moveTo>
                  <a:cubicBezTo>
                    <a:pt x="678" y="1262"/>
                    <a:pt x="678" y="1262"/>
                    <a:pt x="678" y="1262"/>
                  </a:cubicBezTo>
                  <a:cubicBezTo>
                    <a:pt x="678" y="1247"/>
                    <a:pt x="678" y="1247"/>
                    <a:pt x="678" y="1247"/>
                  </a:cubicBezTo>
                  <a:cubicBezTo>
                    <a:pt x="678" y="1240"/>
                    <a:pt x="673" y="1235"/>
                    <a:pt x="666" y="1235"/>
                  </a:cubicBezTo>
                  <a:cubicBezTo>
                    <a:pt x="57" y="1235"/>
                    <a:pt x="57" y="1235"/>
                    <a:pt x="57" y="1235"/>
                  </a:cubicBezTo>
                  <a:cubicBezTo>
                    <a:pt x="51" y="1235"/>
                    <a:pt x="46" y="1240"/>
                    <a:pt x="46" y="1247"/>
                  </a:cubicBezTo>
                  <a:cubicBezTo>
                    <a:pt x="46" y="1262"/>
                    <a:pt x="46" y="1262"/>
                    <a:pt x="46" y="1262"/>
                  </a:cubicBezTo>
                  <a:cubicBezTo>
                    <a:pt x="12" y="1262"/>
                    <a:pt x="12" y="1262"/>
                    <a:pt x="12" y="1262"/>
                  </a:cubicBezTo>
                  <a:cubicBezTo>
                    <a:pt x="5" y="1262"/>
                    <a:pt x="0" y="1268"/>
                    <a:pt x="0" y="1274"/>
                  </a:cubicBezTo>
                  <a:cubicBezTo>
                    <a:pt x="0" y="1318"/>
                    <a:pt x="0" y="1318"/>
                    <a:pt x="0" y="1318"/>
                  </a:cubicBezTo>
                  <a:cubicBezTo>
                    <a:pt x="0" y="1324"/>
                    <a:pt x="5" y="1329"/>
                    <a:pt x="12" y="1329"/>
                  </a:cubicBezTo>
                  <a:cubicBezTo>
                    <a:pt x="712" y="1329"/>
                    <a:pt x="712" y="1329"/>
                    <a:pt x="712" y="1329"/>
                  </a:cubicBezTo>
                  <a:cubicBezTo>
                    <a:pt x="719" y="1329"/>
                    <a:pt x="724" y="1324"/>
                    <a:pt x="724" y="1318"/>
                  </a:cubicBezTo>
                  <a:cubicBezTo>
                    <a:pt x="724" y="1274"/>
                    <a:pt x="724" y="1274"/>
                    <a:pt x="724" y="1274"/>
                  </a:cubicBezTo>
                  <a:cubicBezTo>
                    <a:pt x="724" y="1268"/>
                    <a:pt x="719" y="1262"/>
                    <a:pt x="712" y="1262"/>
                  </a:cubicBezTo>
                  <a:close/>
                  <a:moveTo>
                    <a:pt x="678" y="335"/>
                  </a:moveTo>
                  <a:cubicBezTo>
                    <a:pt x="639" y="335"/>
                    <a:pt x="639" y="335"/>
                    <a:pt x="639" y="335"/>
                  </a:cubicBezTo>
                  <a:cubicBezTo>
                    <a:pt x="616" y="285"/>
                    <a:pt x="616" y="285"/>
                    <a:pt x="616" y="285"/>
                  </a:cubicBezTo>
                  <a:cubicBezTo>
                    <a:pt x="612" y="277"/>
                    <a:pt x="604" y="272"/>
                    <a:pt x="596" y="272"/>
                  </a:cubicBezTo>
                  <a:cubicBezTo>
                    <a:pt x="128" y="272"/>
                    <a:pt x="128" y="272"/>
                    <a:pt x="128" y="272"/>
                  </a:cubicBezTo>
                  <a:cubicBezTo>
                    <a:pt x="120" y="272"/>
                    <a:pt x="112" y="277"/>
                    <a:pt x="108" y="285"/>
                  </a:cubicBezTo>
                  <a:cubicBezTo>
                    <a:pt x="85" y="335"/>
                    <a:pt x="85" y="335"/>
                    <a:pt x="85" y="335"/>
                  </a:cubicBezTo>
                  <a:cubicBezTo>
                    <a:pt x="46" y="335"/>
                    <a:pt x="46" y="335"/>
                    <a:pt x="46" y="335"/>
                  </a:cubicBezTo>
                  <a:cubicBezTo>
                    <a:pt x="34" y="335"/>
                    <a:pt x="24" y="345"/>
                    <a:pt x="24" y="357"/>
                  </a:cubicBezTo>
                  <a:cubicBezTo>
                    <a:pt x="24" y="419"/>
                    <a:pt x="24" y="419"/>
                    <a:pt x="24" y="419"/>
                  </a:cubicBezTo>
                  <a:cubicBezTo>
                    <a:pt x="24" y="431"/>
                    <a:pt x="34" y="441"/>
                    <a:pt x="46" y="441"/>
                  </a:cubicBezTo>
                  <a:cubicBezTo>
                    <a:pt x="57" y="441"/>
                    <a:pt x="57" y="441"/>
                    <a:pt x="57" y="441"/>
                  </a:cubicBezTo>
                  <a:cubicBezTo>
                    <a:pt x="57" y="1200"/>
                    <a:pt x="57" y="1200"/>
                    <a:pt x="57" y="1200"/>
                  </a:cubicBezTo>
                  <a:cubicBezTo>
                    <a:pt x="101" y="1200"/>
                    <a:pt x="101" y="1200"/>
                    <a:pt x="101" y="1200"/>
                  </a:cubicBezTo>
                  <a:cubicBezTo>
                    <a:pt x="101" y="419"/>
                    <a:pt x="101" y="419"/>
                    <a:pt x="101" y="419"/>
                  </a:cubicBezTo>
                  <a:cubicBezTo>
                    <a:pt x="101" y="407"/>
                    <a:pt x="91" y="397"/>
                    <a:pt x="79" y="397"/>
                  </a:cubicBezTo>
                  <a:cubicBezTo>
                    <a:pt x="68" y="397"/>
                    <a:pt x="68" y="397"/>
                    <a:pt x="68" y="397"/>
                  </a:cubicBezTo>
                  <a:cubicBezTo>
                    <a:pt x="68" y="379"/>
                    <a:pt x="68" y="379"/>
                    <a:pt x="68" y="379"/>
                  </a:cubicBezTo>
                  <a:cubicBezTo>
                    <a:pt x="656" y="379"/>
                    <a:pt x="656" y="379"/>
                    <a:pt x="656" y="379"/>
                  </a:cubicBezTo>
                  <a:cubicBezTo>
                    <a:pt x="656" y="397"/>
                    <a:pt x="656" y="397"/>
                    <a:pt x="656" y="397"/>
                  </a:cubicBezTo>
                  <a:cubicBezTo>
                    <a:pt x="645" y="397"/>
                    <a:pt x="645" y="397"/>
                    <a:pt x="645" y="397"/>
                  </a:cubicBezTo>
                  <a:cubicBezTo>
                    <a:pt x="632" y="397"/>
                    <a:pt x="623" y="407"/>
                    <a:pt x="623" y="419"/>
                  </a:cubicBezTo>
                  <a:cubicBezTo>
                    <a:pt x="623" y="1200"/>
                    <a:pt x="623" y="1200"/>
                    <a:pt x="623" y="1200"/>
                  </a:cubicBezTo>
                  <a:cubicBezTo>
                    <a:pt x="667" y="1200"/>
                    <a:pt x="667" y="1200"/>
                    <a:pt x="667" y="1200"/>
                  </a:cubicBezTo>
                  <a:cubicBezTo>
                    <a:pt x="667" y="441"/>
                    <a:pt x="667" y="441"/>
                    <a:pt x="667" y="441"/>
                  </a:cubicBezTo>
                  <a:cubicBezTo>
                    <a:pt x="678" y="441"/>
                    <a:pt x="678" y="441"/>
                    <a:pt x="678" y="441"/>
                  </a:cubicBezTo>
                  <a:cubicBezTo>
                    <a:pt x="690" y="441"/>
                    <a:pt x="700" y="431"/>
                    <a:pt x="700" y="419"/>
                  </a:cubicBezTo>
                  <a:cubicBezTo>
                    <a:pt x="700" y="357"/>
                    <a:pt x="700" y="357"/>
                    <a:pt x="700" y="357"/>
                  </a:cubicBezTo>
                  <a:cubicBezTo>
                    <a:pt x="700" y="345"/>
                    <a:pt x="690" y="335"/>
                    <a:pt x="678" y="335"/>
                  </a:cubicBezTo>
                  <a:close/>
                  <a:moveTo>
                    <a:pt x="142" y="316"/>
                  </a:moveTo>
                  <a:cubicBezTo>
                    <a:pt x="582" y="316"/>
                    <a:pt x="582" y="316"/>
                    <a:pt x="582" y="316"/>
                  </a:cubicBezTo>
                  <a:cubicBezTo>
                    <a:pt x="591" y="335"/>
                    <a:pt x="591" y="335"/>
                    <a:pt x="591" y="335"/>
                  </a:cubicBezTo>
                  <a:cubicBezTo>
                    <a:pt x="133" y="335"/>
                    <a:pt x="133" y="335"/>
                    <a:pt x="133" y="335"/>
                  </a:cubicBezTo>
                  <a:lnTo>
                    <a:pt x="142" y="316"/>
                  </a:lnTo>
                  <a:close/>
                  <a:moveTo>
                    <a:pt x="1597" y="1200"/>
                  </a:moveTo>
                  <a:cubicBezTo>
                    <a:pt x="1485" y="1200"/>
                    <a:pt x="1485" y="1200"/>
                    <a:pt x="1485" y="1200"/>
                  </a:cubicBezTo>
                  <a:cubicBezTo>
                    <a:pt x="1480" y="1200"/>
                    <a:pt x="1475" y="1195"/>
                    <a:pt x="1475" y="1190"/>
                  </a:cubicBezTo>
                  <a:cubicBezTo>
                    <a:pt x="1475" y="1026"/>
                    <a:pt x="1475" y="1026"/>
                    <a:pt x="1475" y="1026"/>
                  </a:cubicBezTo>
                  <a:cubicBezTo>
                    <a:pt x="1475" y="1021"/>
                    <a:pt x="1480" y="1016"/>
                    <a:pt x="1485" y="1016"/>
                  </a:cubicBezTo>
                  <a:cubicBezTo>
                    <a:pt x="1597" y="1016"/>
                    <a:pt x="1597" y="1016"/>
                    <a:pt x="1597" y="1016"/>
                  </a:cubicBezTo>
                  <a:cubicBezTo>
                    <a:pt x="1603" y="1016"/>
                    <a:pt x="1607" y="1021"/>
                    <a:pt x="1607" y="1026"/>
                  </a:cubicBezTo>
                  <a:cubicBezTo>
                    <a:pt x="1607" y="1190"/>
                    <a:pt x="1607" y="1190"/>
                    <a:pt x="1607" y="1190"/>
                  </a:cubicBezTo>
                  <a:cubicBezTo>
                    <a:pt x="1607" y="1195"/>
                    <a:pt x="1603" y="1200"/>
                    <a:pt x="1597" y="1200"/>
                  </a:cubicBezTo>
                  <a:close/>
                  <a:moveTo>
                    <a:pt x="1751" y="1200"/>
                  </a:moveTo>
                  <a:cubicBezTo>
                    <a:pt x="1639" y="1200"/>
                    <a:pt x="1639" y="1200"/>
                    <a:pt x="1639" y="1200"/>
                  </a:cubicBezTo>
                  <a:cubicBezTo>
                    <a:pt x="1633" y="1200"/>
                    <a:pt x="1629" y="1195"/>
                    <a:pt x="1629" y="1190"/>
                  </a:cubicBezTo>
                  <a:cubicBezTo>
                    <a:pt x="1629" y="1026"/>
                    <a:pt x="1629" y="1026"/>
                    <a:pt x="1629" y="1026"/>
                  </a:cubicBezTo>
                  <a:cubicBezTo>
                    <a:pt x="1629" y="1021"/>
                    <a:pt x="1633" y="1016"/>
                    <a:pt x="1639" y="1016"/>
                  </a:cubicBezTo>
                  <a:cubicBezTo>
                    <a:pt x="1751" y="1016"/>
                    <a:pt x="1751" y="1016"/>
                    <a:pt x="1751" y="1016"/>
                  </a:cubicBezTo>
                  <a:cubicBezTo>
                    <a:pt x="1756" y="1016"/>
                    <a:pt x="1761" y="1021"/>
                    <a:pt x="1761" y="1026"/>
                  </a:cubicBezTo>
                  <a:cubicBezTo>
                    <a:pt x="1761" y="1190"/>
                    <a:pt x="1761" y="1190"/>
                    <a:pt x="1761" y="1190"/>
                  </a:cubicBezTo>
                  <a:cubicBezTo>
                    <a:pt x="1761" y="1195"/>
                    <a:pt x="1756" y="1200"/>
                    <a:pt x="1751" y="1200"/>
                  </a:cubicBezTo>
                  <a:close/>
                  <a:moveTo>
                    <a:pt x="1565" y="564"/>
                  </a:moveTo>
                  <a:cubicBezTo>
                    <a:pt x="1565" y="436"/>
                    <a:pt x="1565" y="436"/>
                    <a:pt x="1565" y="436"/>
                  </a:cubicBezTo>
                  <a:cubicBezTo>
                    <a:pt x="1565" y="430"/>
                    <a:pt x="1569" y="426"/>
                    <a:pt x="1575" y="426"/>
                  </a:cubicBezTo>
                  <a:cubicBezTo>
                    <a:pt x="1661" y="426"/>
                    <a:pt x="1661" y="426"/>
                    <a:pt x="1661" y="426"/>
                  </a:cubicBezTo>
                  <a:cubicBezTo>
                    <a:pt x="1667" y="426"/>
                    <a:pt x="1671" y="430"/>
                    <a:pt x="1671" y="436"/>
                  </a:cubicBezTo>
                  <a:cubicBezTo>
                    <a:pt x="1671" y="564"/>
                    <a:pt x="1671" y="564"/>
                    <a:pt x="1671" y="564"/>
                  </a:cubicBezTo>
                  <a:cubicBezTo>
                    <a:pt x="1671" y="569"/>
                    <a:pt x="1667" y="574"/>
                    <a:pt x="1661" y="574"/>
                  </a:cubicBezTo>
                  <a:cubicBezTo>
                    <a:pt x="1575" y="574"/>
                    <a:pt x="1575" y="574"/>
                    <a:pt x="1575" y="574"/>
                  </a:cubicBezTo>
                  <a:cubicBezTo>
                    <a:pt x="1569" y="574"/>
                    <a:pt x="1565" y="569"/>
                    <a:pt x="1565" y="564"/>
                  </a:cubicBezTo>
                  <a:close/>
                  <a:moveTo>
                    <a:pt x="1565" y="740"/>
                  </a:moveTo>
                  <a:cubicBezTo>
                    <a:pt x="1565" y="613"/>
                    <a:pt x="1565" y="613"/>
                    <a:pt x="1565" y="613"/>
                  </a:cubicBezTo>
                  <a:cubicBezTo>
                    <a:pt x="1565" y="607"/>
                    <a:pt x="1569" y="603"/>
                    <a:pt x="1575" y="603"/>
                  </a:cubicBezTo>
                  <a:cubicBezTo>
                    <a:pt x="1661" y="603"/>
                    <a:pt x="1661" y="603"/>
                    <a:pt x="1661" y="603"/>
                  </a:cubicBezTo>
                  <a:cubicBezTo>
                    <a:pt x="1667" y="603"/>
                    <a:pt x="1671" y="607"/>
                    <a:pt x="1671" y="613"/>
                  </a:cubicBezTo>
                  <a:cubicBezTo>
                    <a:pt x="1671" y="740"/>
                    <a:pt x="1671" y="740"/>
                    <a:pt x="1671" y="740"/>
                  </a:cubicBezTo>
                  <a:cubicBezTo>
                    <a:pt x="1671" y="746"/>
                    <a:pt x="1667" y="750"/>
                    <a:pt x="1661" y="750"/>
                  </a:cubicBezTo>
                  <a:cubicBezTo>
                    <a:pt x="1575" y="750"/>
                    <a:pt x="1575" y="750"/>
                    <a:pt x="1575" y="750"/>
                  </a:cubicBezTo>
                  <a:cubicBezTo>
                    <a:pt x="1569" y="750"/>
                    <a:pt x="1565" y="746"/>
                    <a:pt x="1565" y="740"/>
                  </a:cubicBezTo>
                  <a:close/>
                  <a:moveTo>
                    <a:pt x="1421" y="564"/>
                  </a:moveTo>
                  <a:cubicBezTo>
                    <a:pt x="1421" y="436"/>
                    <a:pt x="1421" y="436"/>
                    <a:pt x="1421" y="436"/>
                  </a:cubicBezTo>
                  <a:cubicBezTo>
                    <a:pt x="1421" y="430"/>
                    <a:pt x="1425" y="426"/>
                    <a:pt x="1431" y="426"/>
                  </a:cubicBezTo>
                  <a:cubicBezTo>
                    <a:pt x="1517" y="426"/>
                    <a:pt x="1517" y="426"/>
                    <a:pt x="1517" y="426"/>
                  </a:cubicBezTo>
                  <a:cubicBezTo>
                    <a:pt x="1523" y="426"/>
                    <a:pt x="1527" y="430"/>
                    <a:pt x="1527" y="436"/>
                  </a:cubicBezTo>
                  <a:cubicBezTo>
                    <a:pt x="1527" y="564"/>
                    <a:pt x="1527" y="564"/>
                    <a:pt x="1527" y="564"/>
                  </a:cubicBezTo>
                  <a:cubicBezTo>
                    <a:pt x="1527" y="569"/>
                    <a:pt x="1523" y="574"/>
                    <a:pt x="1517" y="574"/>
                  </a:cubicBezTo>
                  <a:cubicBezTo>
                    <a:pt x="1431" y="574"/>
                    <a:pt x="1431" y="574"/>
                    <a:pt x="1431" y="574"/>
                  </a:cubicBezTo>
                  <a:cubicBezTo>
                    <a:pt x="1425" y="574"/>
                    <a:pt x="1421" y="569"/>
                    <a:pt x="1421" y="564"/>
                  </a:cubicBezTo>
                  <a:close/>
                  <a:moveTo>
                    <a:pt x="1421" y="740"/>
                  </a:moveTo>
                  <a:cubicBezTo>
                    <a:pt x="1421" y="613"/>
                    <a:pt x="1421" y="613"/>
                    <a:pt x="1421" y="613"/>
                  </a:cubicBezTo>
                  <a:cubicBezTo>
                    <a:pt x="1421" y="607"/>
                    <a:pt x="1425" y="603"/>
                    <a:pt x="1431" y="603"/>
                  </a:cubicBezTo>
                  <a:cubicBezTo>
                    <a:pt x="1517" y="603"/>
                    <a:pt x="1517" y="603"/>
                    <a:pt x="1517" y="603"/>
                  </a:cubicBezTo>
                  <a:cubicBezTo>
                    <a:pt x="1523" y="603"/>
                    <a:pt x="1527" y="607"/>
                    <a:pt x="1527" y="613"/>
                  </a:cubicBezTo>
                  <a:cubicBezTo>
                    <a:pt x="1527" y="740"/>
                    <a:pt x="1527" y="740"/>
                    <a:pt x="1527" y="740"/>
                  </a:cubicBezTo>
                  <a:cubicBezTo>
                    <a:pt x="1527" y="746"/>
                    <a:pt x="1523" y="750"/>
                    <a:pt x="1517" y="750"/>
                  </a:cubicBezTo>
                  <a:cubicBezTo>
                    <a:pt x="1431" y="750"/>
                    <a:pt x="1431" y="750"/>
                    <a:pt x="1431" y="750"/>
                  </a:cubicBezTo>
                  <a:cubicBezTo>
                    <a:pt x="1425" y="750"/>
                    <a:pt x="1421" y="746"/>
                    <a:pt x="1421" y="740"/>
                  </a:cubicBezTo>
                  <a:close/>
                  <a:moveTo>
                    <a:pt x="1709" y="564"/>
                  </a:moveTo>
                  <a:cubicBezTo>
                    <a:pt x="1709" y="436"/>
                    <a:pt x="1709" y="436"/>
                    <a:pt x="1709" y="436"/>
                  </a:cubicBezTo>
                  <a:cubicBezTo>
                    <a:pt x="1709" y="430"/>
                    <a:pt x="1713" y="426"/>
                    <a:pt x="1719" y="426"/>
                  </a:cubicBezTo>
                  <a:cubicBezTo>
                    <a:pt x="1805" y="426"/>
                    <a:pt x="1805" y="426"/>
                    <a:pt x="1805" y="426"/>
                  </a:cubicBezTo>
                  <a:cubicBezTo>
                    <a:pt x="1811" y="426"/>
                    <a:pt x="1815" y="430"/>
                    <a:pt x="1815" y="436"/>
                  </a:cubicBezTo>
                  <a:cubicBezTo>
                    <a:pt x="1815" y="564"/>
                    <a:pt x="1815" y="564"/>
                    <a:pt x="1815" y="564"/>
                  </a:cubicBezTo>
                  <a:cubicBezTo>
                    <a:pt x="1815" y="569"/>
                    <a:pt x="1811" y="574"/>
                    <a:pt x="1805" y="574"/>
                  </a:cubicBezTo>
                  <a:cubicBezTo>
                    <a:pt x="1719" y="574"/>
                    <a:pt x="1719" y="574"/>
                    <a:pt x="1719" y="574"/>
                  </a:cubicBezTo>
                  <a:cubicBezTo>
                    <a:pt x="1713" y="574"/>
                    <a:pt x="1709" y="569"/>
                    <a:pt x="1709" y="564"/>
                  </a:cubicBezTo>
                  <a:close/>
                  <a:moveTo>
                    <a:pt x="1709" y="740"/>
                  </a:moveTo>
                  <a:cubicBezTo>
                    <a:pt x="1709" y="613"/>
                    <a:pt x="1709" y="613"/>
                    <a:pt x="1709" y="613"/>
                  </a:cubicBezTo>
                  <a:cubicBezTo>
                    <a:pt x="1709" y="607"/>
                    <a:pt x="1713" y="603"/>
                    <a:pt x="1719" y="603"/>
                  </a:cubicBezTo>
                  <a:cubicBezTo>
                    <a:pt x="1805" y="603"/>
                    <a:pt x="1805" y="603"/>
                    <a:pt x="1805" y="603"/>
                  </a:cubicBezTo>
                  <a:cubicBezTo>
                    <a:pt x="1811" y="603"/>
                    <a:pt x="1815" y="607"/>
                    <a:pt x="1815" y="613"/>
                  </a:cubicBezTo>
                  <a:cubicBezTo>
                    <a:pt x="1815" y="740"/>
                    <a:pt x="1815" y="740"/>
                    <a:pt x="1815" y="740"/>
                  </a:cubicBezTo>
                  <a:cubicBezTo>
                    <a:pt x="1815" y="746"/>
                    <a:pt x="1811" y="750"/>
                    <a:pt x="1805" y="750"/>
                  </a:cubicBezTo>
                  <a:cubicBezTo>
                    <a:pt x="1719" y="750"/>
                    <a:pt x="1719" y="750"/>
                    <a:pt x="1719" y="750"/>
                  </a:cubicBezTo>
                  <a:cubicBezTo>
                    <a:pt x="1713" y="750"/>
                    <a:pt x="1709" y="746"/>
                    <a:pt x="1709" y="740"/>
                  </a:cubicBezTo>
                  <a:close/>
                  <a:moveTo>
                    <a:pt x="1565" y="917"/>
                  </a:moveTo>
                  <a:cubicBezTo>
                    <a:pt x="1565" y="789"/>
                    <a:pt x="1565" y="789"/>
                    <a:pt x="1565" y="789"/>
                  </a:cubicBezTo>
                  <a:cubicBezTo>
                    <a:pt x="1565" y="784"/>
                    <a:pt x="1569" y="779"/>
                    <a:pt x="1575" y="779"/>
                  </a:cubicBezTo>
                  <a:cubicBezTo>
                    <a:pt x="1661" y="779"/>
                    <a:pt x="1661" y="779"/>
                    <a:pt x="1661" y="779"/>
                  </a:cubicBezTo>
                  <a:cubicBezTo>
                    <a:pt x="1667" y="779"/>
                    <a:pt x="1671" y="784"/>
                    <a:pt x="1671" y="789"/>
                  </a:cubicBezTo>
                  <a:cubicBezTo>
                    <a:pt x="1671" y="917"/>
                    <a:pt x="1671" y="917"/>
                    <a:pt x="1671" y="917"/>
                  </a:cubicBezTo>
                  <a:cubicBezTo>
                    <a:pt x="1671" y="923"/>
                    <a:pt x="1667" y="927"/>
                    <a:pt x="1661" y="927"/>
                  </a:cubicBezTo>
                  <a:cubicBezTo>
                    <a:pt x="1575" y="927"/>
                    <a:pt x="1575" y="927"/>
                    <a:pt x="1575" y="927"/>
                  </a:cubicBezTo>
                  <a:cubicBezTo>
                    <a:pt x="1569" y="927"/>
                    <a:pt x="1565" y="923"/>
                    <a:pt x="1565" y="917"/>
                  </a:cubicBezTo>
                  <a:close/>
                  <a:moveTo>
                    <a:pt x="1421" y="917"/>
                  </a:moveTo>
                  <a:cubicBezTo>
                    <a:pt x="1421" y="789"/>
                    <a:pt x="1421" y="789"/>
                    <a:pt x="1421" y="789"/>
                  </a:cubicBezTo>
                  <a:cubicBezTo>
                    <a:pt x="1421" y="784"/>
                    <a:pt x="1425" y="779"/>
                    <a:pt x="1431" y="779"/>
                  </a:cubicBezTo>
                  <a:cubicBezTo>
                    <a:pt x="1517" y="779"/>
                    <a:pt x="1517" y="779"/>
                    <a:pt x="1517" y="779"/>
                  </a:cubicBezTo>
                  <a:cubicBezTo>
                    <a:pt x="1523" y="779"/>
                    <a:pt x="1527" y="784"/>
                    <a:pt x="1527" y="789"/>
                  </a:cubicBezTo>
                  <a:cubicBezTo>
                    <a:pt x="1527" y="917"/>
                    <a:pt x="1527" y="917"/>
                    <a:pt x="1527" y="917"/>
                  </a:cubicBezTo>
                  <a:cubicBezTo>
                    <a:pt x="1527" y="923"/>
                    <a:pt x="1523" y="927"/>
                    <a:pt x="1517" y="927"/>
                  </a:cubicBezTo>
                  <a:cubicBezTo>
                    <a:pt x="1431" y="927"/>
                    <a:pt x="1431" y="927"/>
                    <a:pt x="1431" y="927"/>
                  </a:cubicBezTo>
                  <a:cubicBezTo>
                    <a:pt x="1425" y="927"/>
                    <a:pt x="1421" y="923"/>
                    <a:pt x="1421" y="917"/>
                  </a:cubicBezTo>
                  <a:close/>
                  <a:moveTo>
                    <a:pt x="1709" y="917"/>
                  </a:moveTo>
                  <a:cubicBezTo>
                    <a:pt x="1709" y="789"/>
                    <a:pt x="1709" y="789"/>
                    <a:pt x="1709" y="789"/>
                  </a:cubicBezTo>
                  <a:cubicBezTo>
                    <a:pt x="1709" y="784"/>
                    <a:pt x="1713" y="779"/>
                    <a:pt x="1719" y="779"/>
                  </a:cubicBezTo>
                  <a:cubicBezTo>
                    <a:pt x="1805" y="779"/>
                    <a:pt x="1805" y="779"/>
                    <a:pt x="1805" y="779"/>
                  </a:cubicBezTo>
                  <a:cubicBezTo>
                    <a:pt x="1811" y="779"/>
                    <a:pt x="1815" y="784"/>
                    <a:pt x="1815" y="789"/>
                  </a:cubicBezTo>
                  <a:cubicBezTo>
                    <a:pt x="1815" y="917"/>
                    <a:pt x="1815" y="917"/>
                    <a:pt x="1815" y="917"/>
                  </a:cubicBezTo>
                  <a:cubicBezTo>
                    <a:pt x="1815" y="923"/>
                    <a:pt x="1811" y="927"/>
                    <a:pt x="1805" y="927"/>
                  </a:cubicBezTo>
                  <a:cubicBezTo>
                    <a:pt x="1719" y="927"/>
                    <a:pt x="1719" y="927"/>
                    <a:pt x="1719" y="927"/>
                  </a:cubicBezTo>
                  <a:cubicBezTo>
                    <a:pt x="1713" y="927"/>
                    <a:pt x="1709" y="923"/>
                    <a:pt x="1709" y="917"/>
                  </a:cubicBezTo>
                  <a:close/>
                  <a:moveTo>
                    <a:pt x="1494" y="197"/>
                  </a:moveTo>
                  <a:cubicBezTo>
                    <a:pt x="1494" y="197"/>
                    <a:pt x="1494" y="197"/>
                    <a:pt x="1493" y="197"/>
                  </a:cubicBezTo>
                  <a:cubicBezTo>
                    <a:pt x="1493" y="198"/>
                    <a:pt x="1493" y="199"/>
                    <a:pt x="1492" y="200"/>
                  </a:cubicBezTo>
                  <a:cubicBezTo>
                    <a:pt x="1492" y="200"/>
                    <a:pt x="1492" y="201"/>
                    <a:pt x="1491" y="201"/>
                  </a:cubicBezTo>
                  <a:cubicBezTo>
                    <a:pt x="1491" y="201"/>
                    <a:pt x="1491" y="201"/>
                    <a:pt x="1491" y="201"/>
                  </a:cubicBezTo>
                  <a:cubicBezTo>
                    <a:pt x="1491" y="201"/>
                    <a:pt x="1491" y="201"/>
                    <a:pt x="1491" y="201"/>
                  </a:cubicBezTo>
                  <a:cubicBezTo>
                    <a:pt x="1490" y="202"/>
                    <a:pt x="1489" y="203"/>
                    <a:pt x="1488" y="204"/>
                  </a:cubicBezTo>
                  <a:cubicBezTo>
                    <a:pt x="1488" y="204"/>
                    <a:pt x="1488" y="204"/>
                    <a:pt x="1488" y="204"/>
                  </a:cubicBezTo>
                  <a:cubicBezTo>
                    <a:pt x="1487" y="205"/>
                    <a:pt x="1486" y="206"/>
                    <a:pt x="1485" y="207"/>
                  </a:cubicBezTo>
                  <a:cubicBezTo>
                    <a:pt x="1485" y="207"/>
                    <a:pt x="1485" y="207"/>
                    <a:pt x="1485" y="207"/>
                  </a:cubicBezTo>
                  <a:cubicBezTo>
                    <a:pt x="1483" y="207"/>
                    <a:pt x="1482" y="208"/>
                    <a:pt x="1481" y="208"/>
                  </a:cubicBezTo>
                  <a:cubicBezTo>
                    <a:pt x="1481" y="208"/>
                    <a:pt x="1481" y="209"/>
                    <a:pt x="1481" y="209"/>
                  </a:cubicBezTo>
                  <a:cubicBezTo>
                    <a:pt x="1479" y="209"/>
                    <a:pt x="1478" y="209"/>
                    <a:pt x="1477" y="209"/>
                  </a:cubicBezTo>
                  <a:cubicBezTo>
                    <a:pt x="1477" y="209"/>
                    <a:pt x="1477" y="209"/>
                    <a:pt x="1476" y="209"/>
                  </a:cubicBezTo>
                  <a:cubicBezTo>
                    <a:pt x="1476" y="210"/>
                    <a:pt x="1475" y="210"/>
                    <a:pt x="1475" y="210"/>
                  </a:cubicBezTo>
                  <a:cubicBezTo>
                    <a:pt x="1380" y="213"/>
                    <a:pt x="1380" y="213"/>
                    <a:pt x="1380" y="213"/>
                  </a:cubicBezTo>
                  <a:cubicBezTo>
                    <a:pt x="1379" y="213"/>
                    <a:pt x="1379" y="213"/>
                    <a:pt x="1379" y="213"/>
                  </a:cubicBezTo>
                  <a:cubicBezTo>
                    <a:pt x="1367" y="213"/>
                    <a:pt x="1357" y="204"/>
                    <a:pt x="1357" y="192"/>
                  </a:cubicBezTo>
                  <a:cubicBezTo>
                    <a:pt x="1356" y="180"/>
                    <a:pt x="1366" y="170"/>
                    <a:pt x="1378" y="169"/>
                  </a:cubicBezTo>
                  <a:cubicBezTo>
                    <a:pt x="1409" y="168"/>
                    <a:pt x="1409" y="168"/>
                    <a:pt x="1409" y="168"/>
                  </a:cubicBezTo>
                  <a:cubicBezTo>
                    <a:pt x="1284" y="87"/>
                    <a:pt x="1141" y="44"/>
                    <a:pt x="990" y="44"/>
                  </a:cubicBezTo>
                  <a:cubicBezTo>
                    <a:pt x="818" y="44"/>
                    <a:pt x="655" y="100"/>
                    <a:pt x="520" y="205"/>
                  </a:cubicBezTo>
                  <a:cubicBezTo>
                    <a:pt x="516" y="208"/>
                    <a:pt x="511" y="210"/>
                    <a:pt x="506" y="210"/>
                  </a:cubicBezTo>
                  <a:cubicBezTo>
                    <a:pt x="500" y="210"/>
                    <a:pt x="493" y="207"/>
                    <a:pt x="489" y="201"/>
                  </a:cubicBezTo>
                  <a:cubicBezTo>
                    <a:pt x="481" y="192"/>
                    <a:pt x="483" y="178"/>
                    <a:pt x="493" y="170"/>
                  </a:cubicBezTo>
                  <a:cubicBezTo>
                    <a:pt x="636" y="59"/>
                    <a:pt x="808" y="0"/>
                    <a:pt x="990" y="0"/>
                  </a:cubicBezTo>
                  <a:cubicBezTo>
                    <a:pt x="1149" y="0"/>
                    <a:pt x="1300" y="45"/>
                    <a:pt x="1431" y="130"/>
                  </a:cubicBezTo>
                  <a:cubicBezTo>
                    <a:pt x="1423" y="104"/>
                    <a:pt x="1423" y="104"/>
                    <a:pt x="1423" y="104"/>
                  </a:cubicBezTo>
                  <a:cubicBezTo>
                    <a:pt x="1419" y="93"/>
                    <a:pt x="1425" y="80"/>
                    <a:pt x="1436" y="77"/>
                  </a:cubicBezTo>
                  <a:cubicBezTo>
                    <a:pt x="1448" y="73"/>
                    <a:pt x="1460" y="79"/>
                    <a:pt x="1464" y="90"/>
                  </a:cubicBezTo>
                  <a:cubicBezTo>
                    <a:pt x="1495" y="181"/>
                    <a:pt x="1495" y="181"/>
                    <a:pt x="1495" y="181"/>
                  </a:cubicBezTo>
                  <a:cubicBezTo>
                    <a:pt x="1495" y="181"/>
                    <a:pt x="1495" y="181"/>
                    <a:pt x="1495" y="181"/>
                  </a:cubicBezTo>
                  <a:cubicBezTo>
                    <a:pt x="1495" y="181"/>
                    <a:pt x="1495" y="181"/>
                    <a:pt x="1495" y="181"/>
                  </a:cubicBezTo>
                  <a:cubicBezTo>
                    <a:pt x="1495" y="182"/>
                    <a:pt x="1495" y="183"/>
                    <a:pt x="1496" y="184"/>
                  </a:cubicBezTo>
                  <a:cubicBezTo>
                    <a:pt x="1496" y="185"/>
                    <a:pt x="1496" y="185"/>
                    <a:pt x="1496" y="185"/>
                  </a:cubicBezTo>
                  <a:cubicBezTo>
                    <a:pt x="1496" y="186"/>
                    <a:pt x="1496" y="188"/>
                    <a:pt x="1496" y="189"/>
                  </a:cubicBezTo>
                  <a:cubicBezTo>
                    <a:pt x="1496" y="189"/>
                    <a:pt x="1496" y="189"/>
                    <a:pt x="1496" y="189"/>
                  </a:cubicBezTo>
                  <a:cubicBezTo>
                    <a:pt x="1496" y="191"/>
                    <a:pt x="1495" y="192"/>
                    <a:pt x="1495" y="193"/>
                  </a:cubicBezTo>
                  <a:cubicBezTo>
                    <a:pt x="1495" y="193"/>
                    <a:pt x="1495" y="193"/>
                    <a:pt x="1495" y="193"/>
                  </a:cubicBezTo>
                  <a:cubicBezTo>
                    <a:pt x="1495" y="195"/>
                    <a:pt x="1494" y="196"/>
                    <a:pt x="1494" y="1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48" name="Freeform 11">
              <a:extLst>
                <a:ext uri="{FF2B5EF4-FFF2-40B4-BE49-F238E27FC236}">
                  <a16:creationId xmlns:a16="http://schemas.microsoft.com/office/drawing/2014/main" id="{D558E86F-E108-494A-9600-1F28ACC274EF}"/>
                </a:ext>
              </a:extLst>
            </p:cNvPr>
            <p:cNvSpPr>
              <a:spLocks noEditPoints="1"/>
            </p:cNvSpPr>
            <p:nvPr/>
          </p:nvSpPr>
          <p:spPr bwMode="auto">
            <a:xfrm>
              <a:off x="2296" y="1148"/>
              <a:ext cx="3400" cy="2538"/>
            </a:xfrm>
            <a:custGeom>
              <a:avLst/>
              <a:gdLst>
                <a:gd name="T0" fmla="*/ 54 w 1815"/>
                <a:gd name="T1" fmla="*/ 918 h 1354"/>
                <a:gd name="T2" fmla="*/ 176 w 1815"/>
                <a:gd name="T3" fmla="*/ 744 h 1354"/>
                <a:gd name="T4" fmla="*/ 176 w 1815"/>
                <a:gd name="T5" fmla="*/ 928 h 1354"/>
                <a:gd name="T6" fmla="*/ 330 w 1815"/>
                <a:gd name="T7" fmla="*/ 744 h 1354"/>
                <a:gd name="T8" fmla="*/ 208 w 1815"/>
                <a:gd name="T9" fmla="*/ 918 h 1354"/>
                <a:gd name="T10" fmla="*/ 340 w 1815"/>
                <a:gd name="T11" fmla="*/ 918 h 1354"/>
                <a:gd name="T12" fmla="*/ 250 w 1815"/>
                <a:gd name="T13" fmla="*/ 292 h 1354"/>
                <a:gd name="T14" fmla="*/ 154 w 1815"/>
                <a:gd name="T15" fmla="*/ 154 h 1354"/>
                <a:gd name="T16" fmla="*/ 154 w 1815"/>
                <a:gd name="T17" fmla="*/ 302 h 1354"/>
                <a:gd name="T18" fmla="*/ 250 w 1815"/>
                <a:gd name="T19" fmla="*/ 468 h 1354"/>
                <a:gd name="T20" fmla="*/ 154 w 1815"/>
                <a:gd name="T21" fmla="*/ 331 h 1354"/>
                <a:gd name="T22" fmla="*/ 154 w 1815"/>
                <a:gd name="T23" fmla="*/ 478 h 1354"/>
                <a:gd name="T24" fmla="*/ 106 w 1815"/>
                <a:gd name="T25" fmla="*/ 292 h 1354"/>
                <a:gd name="T26" fmla="*/ 10 w 1815"/>
                <a:gd name="T27" fmla="*/ 154 h 1354"/>
                <a:gd name="T28" fmla="*/ 10 w 1815"/>
                <a:gd name="T29" fmla="*/ 302 h 1354"/>
                <a:gd name="T30" fmla="*/ 106 w 1815"/>
                <a:gd name="T31" fmla="*/ 468 h 1354"/>
                <a:gd name="T32" fmla="*/ 10 w 1815"/>
                <a:gd name="T33" fmla="*/ 331 h 1354"/>
                <a:gd name="T34" fmla="*/ 10 w 1815"/>
                <a:gd name="T35" fmla="*/ 478 h 1354"/>
                <a:gd name="T36" fmla="*/ 394 w 1815"/>
                <a:gd name="T37" fmla="*/ 292 h 1354"/>
                <a:gd name="T38" fmla="*/ 298 w 1815"/>
                <a:gd name="T39" fmla="*/ 154 h 1354"/>
                <a:gd name="T40" fmla="*/ 298 w 1815"/>
                <a:gd name="T41" fmla="*/ 302 h 1354"/>
                <a:gd name="T42" fmla="*/ 394 w 1815"/>
                <a:gd name="T43" fmla="*/ 468 h 1354"/>
                <a:gd name="T44" fmla="*/ 298 w 1815"/>
                <a:gd name="T45" fmla="*/ 331 h 1354"/>
                <a:gd name="T46" fmla="*/ 298 w 1815"/>
                <a:gd name="T47" fmla="*/ 478 h 1354"/>
                <a:gd name="T48" fmla="*/ 250 w 1815"/>
                <a:gd name="T49" fmla="*/ 645 h 1354"/>
                <a:gd name="T50" fmla="*/ 154 w 1815"/>
                <a:gd name="T51" fmla="*/ 507 h 1354"/>
                <a:gd name="T52" fmla="*/ 154 w 1815"/>
                <a:gd name="T53" fmla="*/ 655 h 1354"/>
                <a:gd name="T54" fmla="*/ 106 w 1815"/>
                <a:gd name="T55" fmla="*/ 645 h 1354"/>
                <a:gd name="T56" fmla="*/ 10 w 1815"/>
                <a:gd name="T57" fmla="*/ 507 h 1354"/>
                <a:gd name="T58" fmla="*/ 10 w 1815"/>
                <a:gd name="T59" fmla="*/ 655 h 1354"/>
                <a:gd name="T60" fmla="*/ 394 w 1815"/>
                <a:gd name="T61" fmla="*/ 645 h 1354"/>
                <a:gd name="T62" fmla="*/ 298 w 1815"/>
                <a:gd name="T63" fmla="*/ 507 h 1354"/>
                <a:gd name="T64" fmla="*/ 298 w 1815"/>
                <a:gd name="T65" fmla="*/ 655 h 1354"/>
                <a:gd name="T66" fmla="*/ 1803 w 1815"/>
                <a:gd name="T67" fmla="*/ 1057 h 1354"/>
                <a:gd name="T68" fmla="*/ 1091 w 1815"/>
                <a:gd name="T69" fmla="*/ 1002 h 1354"/>
                <a:gd name="T70" fmla="*/ 1137 w 1815"/>
                <a:gd name="T71" fmla="*/ 975 h 1354"/>
                <a:gd name="T72" fmla="*/ 1769 w 1815"/>
                <a:gd name="T73" fmla="*/ 975 h 1354"/>
                <a:gd name="T74" fmla="*/ 1815 w 1815"/>
                <a:gd name="T75" fmla="*/ 1002 h 1354"/>
                <a:gd name="T76" fmla="*/ 1769 w 1815"/>
                <a:gd name="T77" fmla="*/ 169 h 1354"/>
                <a:gd name="T78" fmla="*/ 1714 w 1815"/>
                <a:gd name="T79" fmla="*/ 928 h 1354"/>
                <a:gd name="T80" fmla="*/ 1747 w 1815"/>
                <a:gd name="T81" fmla="*/ 125 h 1354"/>
                <a:gd name="T82" fmla="*/ 1159 w 1815"/>
                <a:gd name="T83" fmla="*/ 125 h 1354"/>
                <a:gd name="T84" fmla="*/ 1192 w 1815"/>
                <a:gd name="T85" fmla="*/ 928 h 1354"/>
                <a:gd name="T86" fmla="*/ 1137 w 1815"/>
                <a:gd name="T87" fmla="*/ 169 h 1354"/>
                <a:gd name="T88" fmla="*/ 1137 w 1815"/>
                <a:gd name="T89" fmla="*/ 63 h 1354"/>
                <a:gd name="T90" fmla="*/ 1219 w 1815"/>
                <a:gd name="T91" fmla="*/ 0 h 1354"/>
                <a:gd name="T92" fmla="*/ 1730 w 1815"/>
                <a:gd name="T93" fmla="*/ 63 h 1354"/>
                <a:gd name="T94" fmla="*/ 1224 w 1815"/>
                <a:gd name="T95" fmla="*/ 63 h 1354"/>
                <a:gd name="T96" fmla="*/ 1233 w 1815"/>
                <a:gd name="T97" fmla="*/ 44 h 1354"/>
                <a:gd name="T98" fmla="*/ 1295 w 1815"/>
                <a:gd name="T99" fmla="*/ 1149 h 1354"/>
                <a:gd name="T100" fmla="*/ 437 w 1815"/>
                <a:gd name="T101" fmla="*/ 1185 h 1354"/>
                <a:gd name="T102" fmla="*/ 340 w 1815"/>
                <a:gd name="T103" fmla="*/ 1144 h 1354"/>
                <a:gd name="T104" fmla="*/ 334 w 1815"/>
                <a:gd name="T105" fmla="*/ 1145 h 1354"/>
                <a:gd name="T106" fmla="*/ 330 w 1815"/>
                <a:gd name="T107" fmla="*/ 1147 h 1354"/>
                <a:gd name="T108" fmla="*/ 324 w 1815"/>
                <a:gd name="T109" fmla="*/ 1153 h 1354"/>
                <a:gd name="T110" fmla="*/ 323 w 1815"/>
                <a:gd name="T111" fmla="*/ 1154 h 1354"/>
                <a:gd name="T112" fmla="*/ 320 w 1815"/>
                <a:gd name="T113" fmla="*/ 1161 h 1354"/>
                <a:gd name="T114" fmla="*/ 319 w 1815"/>
                <a:gd name="T115" fmla="*/ 1165 h 1354"/>
                <a:gd name="T116" fmla="*/ 320 w 1815"/>
                <a:gd name="T117" fmla="*/ 1173 h 1354"/>
                <a:gd name="T118" fmla="*/ 351 w 1815"/>
                <a:gd name="T119" fmla="*/ 1264 h 1354"/>
                <a:gd name="T120" fmla="*/ 392 w 1815"/>
                <a:gd name="T121" fmla="*/ 1250 h 1354"/>
                <a:gd name="T122" fmla="*/ 1322 w 1815"/>
                <a:gd name="T123" fmla="*/ 11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54">
                  <a:moveTo>
                    <a:pt x="176" y="928"/>
                  </a:moveTo>
                  <a:cubicBezTo>
                    <a:pt x="64" y="928"/>
                    <a:pt x="64" y="928"/>
                    <a:pt x="64" y="928"/>
                  </a:cubicBezTo>
                  <a:cubicBezTo>
                    <a:pt x="59" y="928"/>
                    <a:pt x="54" y="923"/>
                    <a:pt x="54" y="918"/>
                  </a:cubicBezTo>
                  <a:cubicBezTo>
                    <a:pt x="54" y="754"/>
                    <a:pt x="54" y="754"/>
                    <a:pt x="54" y="754"/>
                  </a:cubicBezTo>
                  <a:cubicBezTo>
                    <a:pt x="54" y="749"/>
                    <a:pt x="59" y="744"/>
                    <a:pt x="64" y="744"/>
                  </a:cubicBezTo>
                  <a:cubicBezTo>
                    <a:pt x="176" y="744"/>
                    <a:pt x="176" y="744"/>
                    <a:pt x="176" y="744"/>
                  </a:cubicBezTo>
                  <a:cubicBezTo>
                    <a:pt x="182" y="744"/>
                    <a:pt x="186" y="749"/>
                    <a:pt x="186" y="754"/>
                  </a:cubicBezTo>
                  <a:cubicBezTo>
                    <a:pt x="186" y="918"/>
                    <a:pt x="186" y="918"/>
                    <a:pt x="186" y="918"/>
                  </a:cubicBezTo>
                  <a:cubicBezTo>
                    <a:pt x="186" y="923"/>
                    <a:pt x="182" y="928"/>
                    <a:pt x="176" y="928"/>
                  </a:cubicBezTo>
                  <a:close/>
                  <a:moveTo>
                    <a:pt x="340" y="918"/>
                  </a:moveTo>
                  <a:cubicBezTo>
                    <a:pt x="340" y="754"/>
                    <a:pt x="340" y="754"/>
                    <a:pt x="340" y="754"/>
                  </a:cubicBezTo>
                  <a:cubicBezTo>
                    <a:pt x="340" y="749"/>
                    <a:pt x="335" y="744"/>
                    <a:pt x="330" y="744"/>
                  </a:cubicBezTo>
                  <a:cubicBezTo>
                    <a:pt x="218" y="744"/>
                    <a:pt x="218" y="744"/>
                    <a:pt x="218" y="744"/>
                  </a:cubicBezTo>
                  <a:cubicBezTo>
                    <a:pt x="212" y="744"/>
                    <a:pt x="208" y="749"/>
                    <a:pt x="208" y="754"/>
                  </a:cubicBezTo>
                  <a:cubicBezTo>
                    <a:pt x="208" y="918"/>
                    <a:pt x="208" y="918"/>
                    <a:pt x="208" y="918"/>
                  </a:cubicBezTo>
                  <a:cubicBezTo>
                    <a:pt x="208" y="923"/>
                    <a:pt x="212" y="928"/>
                    <a:pt x="218" y="928"/>
                  </a:cubicBezTo>
                  <a:cubicBezTo>
                    <a:pt x="330" y="928"/>
                    <a:pt x="330" y="928"/>
                    <a:pt x="330" y="928"/>
                  </a:cubicBezTo>
                  <a:cubicBezTo>
                    <a:pt x="335" y="928"/>
                    <a:pt x="340" y="923"/>
                    <a:pt x="340" y="918"/>
                  </a:cubicBezTo>
                  <a:close/>
                  <a:moveTo>
                    <a:pt x="154" y="302"/>
                  </a:moveTo>
                  <a:cubicBezTo>
                    <a:pt x="240" y="302"/>
                    <a:pt x="240" y="302"/>
                    <a:pt x="240" y="302"/>
                  </a:cubicBezTo>
                  <a:cubicBezTo>
                    <a:pt x="246" y="302"/>
                    <a:pt x="250" y="297"/>
                    <a:pt x="250" y="292"/>
                  </a:cubicBezTo>
                  <a:cubicBezTo>
                    <a:pt x="250" y="164"/>
                    <a:pt x="250" y="164"/>
                    <a:pt x="250" y="164"/>
                  </a:cubicBezTo>
                  <a:cubicBezTo>
                    <a:pt x="250" y="158"/>
                    <a:pt x="246" y="154"/>
                    <a:pt x="240" y="154"/>
                  </a:cubicBezTo>
                  <a:cubicBezTo>
                    <a:pt x="154" y="154"/>
                    <a:pt x="154" y="154"/>
                    <a:pt x="154" y="154"/>
                  </a:cubicBezTo>
                  <a:cubicBezTo>
                    <a:pt x="148" y="154"/>
                    <a:pt x="144" y="158"/>
                    <a:pt x="144" y="164"/>
                  </a:cubicBezTo>
                  <a:cubicBezTo>
                    <a:pt x="144" y="292"/>
                    <a:pt x="144" y="292"/>
                    <a:pt x="144" y="292"/>
                  </a:cubicBezTo>
                  <a:cubicBezTo>
                    <a:pt x="144" y="297"/>
                    <a:pt x="148" y="302"/>
                    <a:pt x="154" y="302"/>
                  </a:cubicBezTo>
                  <a:close/>
                  <a:moveTo>
                    <a:pt x="154" y="478"/>
                  </a:moveTo>
                  <a:cubicBezTo>
                    <a:pt x="240" y="478"/>
                    <a:pt x="240" y="478"/>
                    <a:pt x="240" y="478"/>
                  </a:cubicBezTo>
                  <a:cubicBezTo>
                    <a:pt x="246" y="478"/>
                    <a:pt x="250" y="474"/>
                    <a:pt x="250" y="468"/>
                  </a:cubicBezTo>
                  <a:cubicBezTo>
                    <a:pt x="250" y="341"/>
                    <a:pt x="250" y="341"/>
                    <a:pt x="250" y="341"/>
                  </a:cubicBezTo>
                  <a:cubicBezTo>
                    <a:pt x="250" y="335"/>
                    <a:pt x="246" y="331"/>
                    <a:pt x="240" y="331"/>
                  </a:cubicBezTo>
                  <a:cubicBezTo>
                    <a:pt x="154" y="331"/>
                    <a:pt x="154" y="331"/>
                    <a:pt x="154" y="331"/>
                  </a:cubicBezTo>
                  <a:cubicBezTo>
                    <a:pt x="148" y="331"/>
                    <a:pt x="144" y="335"/>
                    <a:pt x="144" y="341"/>
                  </a:cubicBezTo>
                  <a:cubicBezTo>
                    <a:pt x="144" y="468"/>
                    <a:pt x="144" y="468"/>
                    <a:pt x="144" y="468"/>
                  </a:cubicBezTo>
                  <a:cubicBezTo>
                    <a:pt x="144" y="474"/>
                    <a:pt x="148" y="478"/>
                    <a:pt x="154" y="478"/>
                  </a:cubicBezTo>
                  <a:close/>
                  <a:moveTo>
                    <a:pt x="10" y="302"/>
                  </a:moveTo>
                  <a:cubicBezTo>
                    <a:pt x="96" y="302"/>
                    <a:pt x="96" y="302"/>
                    <a:pt x="96" y="302"/>
                  </a:cubicBezTo>
                  <a:cubicBezTo>
                    <a:pt x="102" y="302"/>
                    <a:pt x="106" y="297"/>
                    <a:pt x="106" y="292"/>
                  </a:cubicBezTo>
                  <a:cubicBezTo>
                    <a:pt x="106" y="164"/>
                    <a:pt x="106" y="164"/>
                    <a:pt x="106" y="164"/>
                  </a:cubicBezTo>
                  <a:cubicBezTo>
                    <a:pt x="106" y="158"/>
                    <a:pt x="102" y="154"/>
                    <a:pt x="96" y="154"/>
                  </a:cubicBezTo>
                  <a:cubicBezTo>
                    <a:pt x="10" y="154"/>
                    <a:pt x="10" y="154"/>
                    <a:pt x="10" y="154"/>
                  </a:cubicBezTo>
                  <a:cubicBezTo>
                    <a:pt x="4" y="154"/>
                    <a:pt x="0" y="158"/>
                    <a:pt x="0" y="164"/>
                  </a:cubicBezTo>
                  <a:cubicBezTo>
                    <a:pt x="0" y="292"/>
                    <a:pt x="0" y="292"/>
                    <a:pt x="0" y="292"/>
                  </a:cubicBezTo>
                  <a:cubicBezTo>
                    <a:pt x="0" y="297"/>
                    <a:pt x="4" y="302"/>
                    <a:pt x="10" y="302"/>
                  </a:cubicBezTo>
                  <a:close/>
                  <a:moveTo>
                    <a:pt x="10" y="478"/>
                  </a:moveTo>
                  <a:cubicBezTo>
                    <a:pt x="96" y="478"/>
                    <a:pt x="96" y="478"/>
                    <a:pt x="96" y="478"/>
                  </a:cubicBezTo>
                  <a:cubicBezTo>
                    <a:pt x="102" y="478"/>
                    <a:pt x="106" y="474"/>
                    <a:pt x="106" y="468"/>
                  </a:cubicBezTo>
                  <a:cubicBezTo>
                    <a:pt x="106" y="341"/>
                    <a:pt x="106" y="341"/>
                    <a:pt x="106" y="341"/>
                  </a:cubicBezTo>
                  <a:cubicBezTo>
                    <a:pt x="106" y="335"/>
                    <a:pt x="102" y="331"/>
                    <a:pt x="96" y="331"/>
                  </a:cubicBezTo>
                  <a:cubicBezTo>
                    <a:pt x="10" y="331"/>
                    <a:pt x="10" y="331"/>
                    <a:pt x="10" y="331"/>
                  </a:cubicBezTo>
                  <a:cubicBezTo>
                    <a:pt x="4" y="331"/>
                    <a:pt x="0" y="335"/>
                    <a:pt x="0" y="341"/>
                  </a:cubicBezTo>
                  <a:cubicBezTo>
                    <a:pt x="0" y="468"/>
                    <a:pt x="0" y="468"/>
                    <a:pt x="0" y="468"/>
                  </a:cubicBezTo>
                  <a:cubicBezTo>
                    <a:pt x="0" y="474"/>
                    <a:pt x="4" y="478"/>
                    <a:pt x="10" y="478"/>
                  </a:cubicBezTo>
                  <a:close/>
                  <a:moveTo>
                    <a:pt x="298" y="302"/>
                  </a:moveTo>
                  <a:cubicBezTo>
                    <a:pt x="384" y="302"/>
                    <a:pt x="384" y="302"/>
                    <a:pt x="384" y="302"/>
                  </a:cubicBezTo>
                  <a:cubicBezTo>
                    <a:pt x="390" y="302"/>
                    <a:pt x="394" y="297"/>
                    <a:pt x="394" y="292"/>
                  </a:cubicBezTo>
                  <a:cubicBezTo>
                    <a:pt x="394" y="164"/>
                    <a:pt x="394" y="164"/>
                    <a:pt x="394" y="164"/>
                  </a:cubicBezTo>
                  <a:cubicBezTo>
                    <a:pt x="394" y="158"/>
                    <a:pt x="390" y="154"/>
                    <a:pt x="384" y="154"/>
                  </a:cubicBezTo>
                  <a:cubicBezTo>
                    <a:pt x="298" y="154"/>
                    <a:pt x="298" y="154"/>
                    <a:pt x="298" y="154"/>
                  </a:cubicBezTo>
                  <a:cubicBezTo>
                    <a:pt x="292" y="154"/>
                    <a:pt x="288" y="158"/>
                    <a:pt x="288" y="164"/>
                  </a:cubicBezTo>
                  <a:cubicBezTo>
                    <a:pt x="288" y="292"/>
                    <a:pt x="288" y="292"/>
                    <a:pt x="288" y="292"/>
                  </a:cubicBezTo>
                  <a:cubicBezTo>
                    <a:pt x="288" y="297"/>
                    <a:pt x="292" y="302"/>
                    <a:pt x="298" y="302"/>
                  </a:cubicBezTo>
                  <a:close/>
                  <a:moveTo>
                    <a:pt x="298" y="478"/>
                  </a:moveTo>
                  <a:cubicBezTo>
                    <a:pt x="384" y="478"/>
                    <a:pt x="384" y="478"/>
                    <a:pt x="384" y="478"/>
                  </a:cubicBezTo>
                  <a:cubicBezTo>
                    <a:pt x="390" y="478"/>
                    <a:pt x="394" y="474"/>
                    <a:pt x="394" y="468"/>
                  </a:cubicBezTo>
                  <a:cubicBezTo>
                    <a:pt x="394" y="341"/>
                    <a:pt x="394" y="341"/>
                    <a:pt x="394" y="341"/>
                  </a:cubicBezTo>
                  <a:cubicBezTo>
                    <a:pt x="394" y="335"/>
                    <a:pt x="390" y="331"/>
                    <a:pt x="384" y="331"/>
                  </a:cubicBezTo>
                  <a:cubicBezTo>
                    <a:pt x="298" y="331"/>
                    <a:pt x="298" y="331"/>
                    <a:pt x="298" y="331"/>
                  </a:cubicBezTo>
                  <a:cubicBezTo>
                    <a:pt x="292" y="331"/>
                    <a:pt x="288" y="335"/>
                    <a:pt x="288" y="341"/>
                  </a:cubicBezTo>
                  <a:cubicBezTo>
                    <a:pt x="288" y="468"/>
                    <a:pt x="288" y="468"/>
                    <a:pt x="288" y="468"/>
                  </a:cubicBezTo>
                  <a:cubicBezTo>
                    <a:pt x="288" y="474"/>
                    <a:pt x="292" y="478"/>
                    <a:pt x="298" y="478"/>
                  </a:cubicBezTo>
                  <a:close/>
                  <a:moveTo>
                    <a:pt x="154" y="655"/>
                  </a:moveTo>
                  <a:cubicBezTo>
                    <a:pt x="240" y="655"/>
                    <a:pt x="240" y="655"/>
                    <a:pt x="240" y="655"/>
                  </a:cubicBezTo>
                  <a:cubicBezTo>
                    <a:pt x="246" y="655"/>
                    <a:pt x="250" y="651"/>
                    <a:pt x="250" y="645"/>
                  </a:cubicBezTo>
                  <a:cubicBezTo>
                    <a:pt x="250" y="517"/>
                    <a:pt x="250" y="517"/>
                    <a:pt x="250" y="517"/>
                  </a:cubicBezTo>
                  <a:cubicBezTo>
                    <a:pt x="250" y="512"/>
                    <a:pt x="246" y="507"/>
                    <a:pt x="240" y="507"/>
                  </a:cubicBezTo>
                  <a:cubicBezTo>
                    <a:pt x="154" y="507"/>
                    <a:pt x="154" y="507"/>
                    <a:pt x="154" y="507"/>
                  </a:cubicBezTo>
                  <a:cubicBezTo>
                    <a:pt x="148" y="507"/>
                    <a:pt x="144" y="512"/>
                    <a:pt x="144" y="517"/>
                  </a:cubicBezTo>
                  <a:cubicBezTo>
                    <a:pt x="144" y="645"/>
                    <a:pt x="144" y="645"/>
                    <a:pt x="144" y="645"/>
                  </a:cubicBezTo>
                  <a:cubicBezTo>
                    <a:pt x="144" y="651"/>
                    <a:pt x="148" y="655"/>
                    <a:pt x="154" y="655"/>
                  </a:cubicBezTo>
                  <a:close/>
                  <a:moveTo>
                    <a:pt x="10" y="655"/>
                  </a:moveTo>
                  <a:cubicBezTo>
                    <a:pt x="96" y="655"/>
                    <a:pt x="96" y="655"/>
                    <a:pt x="96" y="655"/>
                  </a:cubicBezTo>
                  <a:cubicBezTo>
                    <a:pt x="102" y="655"/>
                    <a:pt x="106" y="651"/>
                    <a:pt x="106" y="645"/>
                  </a:cubicBezTo>
                  <a:cubicBezTo>
                    <a:pt x="106" y="517"/>
                    <a:pt x="106" y="517"/>
                    <a:pt x="106" y="517"/>
                  </a:cubicBezTo>
                  <a:cubicBezTo>
                    <a:pt x="106" y="512"/>
                    <a:pt x="102" y="507"/>
                    <a:pt x="96" y="507"/>
                  </a:cubicBezTo>
                  <a:cubicBezTo>
                    <a:pt x="10" y="507"/>
                    <a:pt x="10" y="507"/>
                    <a:pt x="10" y="507"/>
                  </a:cubicBezTo>
                  <a:cubicBezTo>
                    <a:pt x="4" y="507"/>
                    <a:pt x="0" y="512"/>
                    <a:pt x="0" y="517"/>
                  </a:cubicBezTo>
                  <a:cubicBezTo>
                    <a:pt x="0" y="645"/>
                    <a:pt x="0" y="645"/>
                    <a:pt x="0" y="645"/>
                  </a:cubicBezTo>
                  <a:cubicBezTo>
                    <a:pt x="0" y="651"/>
                    <a:pt x="4" y="655"/>
                    <a:pt x="10" y="655"/>
                  </a:cubicBezTo>
                  <a:close/>
                  <a:moveTo>
                    <a:pt x="298" y="655"/>
                  </a:moveTo>
                  <a:cubicBezTo>
                    <a:pt x="384" y="655"/>
                    <a:pt x="384" y="655"/>
                    <a:pt x="384" y="655"/>
                  </a:cubicBezTo>
                  <a:cubicBezTo>
                    <a:pt x="390" y="655"/>
                    <a:pt x="394" y="651"/>
                    <a:pt x="394" y="645"/>
                  </a:cubicBezTo>
                  <a:cubicBezTo>
                    <a:pt x="394" y="517"/>
                    <a:pt x="394" y="517"/>
                    <a:pt x="394" y="517"/>
                  </a:cubicBezTo>
                  <a:cubicBezTo>
                    <a:pt x="394" y="512"/>
                    <a:pt x="390" y="507"/>
                    <a:pt x="384" y="507"/>
                  </a:cubicBezTo>
                  <a:cubicBezTo>
                    <a:pt x="298" y="507"/>
                    <a:pt x="298" y="507"/>
                    <a:pt x="298" y="507"/>
                  </a:cubicBezTo>
                  <a:cubicBezTo>
                    <a:pt x="292" y="507"/>
                    <a:pt x="288" y="512"/>
                    <a:pt x="288" y="517"/>
                  </a:cubicBezTo>
                  <a:cubicBezTo>
                    <a:pt x="288" y="645"/>
                    <a:pt x="288" y="645"/>
                    <a:pt x="288" y="645"/>
                  </a:cubicBezTo>
                  <a:cubicBezTo>
                    <a:pt x="288" y="651"/>
                    <a:pt x="292" y="655"/>
                    <a:pt x="298" y="655"/>
                  </a:cubicBezTo>
                  <a:close/>
                  <a:moveTo>
                    <a:pt x="1815" y="1002"/>
                  </a:moveTo>
                  <a:cubicBezTo>
                    <a:pt x="1815" y="1046"/>
                    <a:pt x="1815" y="1046"/>
                    <a:pt x="1815" y="1046"/>
                  </a:cubicBezTo>
                  <a:cubicBezTo>
                    <a:pt x="1815" y="1052"/>
                    <a:pt x="1810" y="1057"/>
                    <a:pt x="1803" y="1057"/>
                  </a:cubicBezTo>
                  <a:cubicBezTo>
                    <a:pt x="1103" y="1057"/>
                    <a:pt x="1103" y="1057"/>
                    <a:pt x="1103" y="1057"/>
                  </a:cubicBezTo>
                  <a:cubicBezTo>
                    <a:pt x="1096" y="1057"/>
                    <a:pt x="1091" y="1052"/>
                    <a:pt x="1091" y="1046"/>
                  </a:cubicBezTo>
                  <a:cubicBezTo>
                    <a:pt x="1091" y="1002"/>
                    <a:pt x="1091" y="1002"/>
                    <a:pt x="1091" y="1002"/>
                  </a:cubicBezTo>
                  <a:cubicBezTo>
                    <a:pt x="1091" y="996"/>
                    <a:pt x="1096" y="990"/>
                    <a:pt x="1103" y="990"/>
                  </a:cubicBezTo>
                  <a:cubicBezTo>
                    <a:pt x="1137" y="990"/>
                    <a:pt x="1137" y="990"/>
                    <a:pt x="1137" y="990"/>
                  </a:cubicBezTo>
                  <a:cubicBezTo>
                    <a:pt x="1137" y="975"/>
                    <a:pt x="1137" y="975"/>
                    <a:pt x="1137" y="975"/>
                  </a:cubicBezTo>
                  <a:cubicBezTo>
                    <a:pt x="1137" y="968"/>
                    <a:pt x="1142" y="963"/>
                    <a:pt x="1149" y="963"/>
                  </a:cubicBezTo>
                  <a:cubicBezTo>
                    <a:pt x="1758" y="963"/>
                    <a:pt x="1758" y="963"/>
                    <a:pt x="1758" y="963"/>
                  </a:cubicBezTo>
                  <a:cubicBezTo>
                    <a:pt x="1764" y="963"/>
                    <a:pt x="1769" y="968"/>
                    <a:pt x="1769" y="975"/>
                  </a:cubicBezTo>
                  <a:cubicBezTo>
                    <a:pt x="1769" y="990"/>
                    <a:pt x="1769" y="990"/>
                    <a:pt x="1769" y="990"/>
                  </a:cubicBezTo>
                  <a:cubicBezTo>
                    <a:pt x="1803" y="990"/>
                    <a:pt x="1803" y="990"/>
                    <a:pt x="1803" y="990"/>
                  </a:cubicBezTo>
                  <a:cubicBezTo>
                    <a:pt x="1810" y="990"/>
                    <a:pt x="1815" y="996"/>
                    <a:pt x="1815" y="1002"/>
                  </a:cubicBezTo>
                  <a:close/>
                  <a:moveTo>
                    <a:pt x="1791" y="85"/>
                  </a:moveTo>
                  <a:cubicBezTo>
                    <a:pt x="1791" y="147"/>
                    <a:pt x="1791" y="147"/>
                    <a:pt x="1791" y="147"/>
                  </a:cubicBezTo>
                  <a:cubicBezTo>
                    <a:pt x="1791" y="159"/>
                    <a:pt x="1781" y="169"/>
                    <a:pt x="1769" y="169"/>
                  </a:cubicBezTo>
                  <a:cubicBezTo>
                    <a:pt x="1758" y="169"/>
                    <a:pt x="1758" y="169"/>
                    <a:pt x="1758" y="169"/>
                  </a:cubicBezTo>
                  <a:cubicBezTo>
                    <a:pt x="1758" y="928"/>
                    <a:pt x="1758" y="928"/>
                    <a:pt x="1758" y="928"/>
                  </a:cubicBezTo>
                  <a:cubicBezTo>
                    <a:pt x="1714" y="928"/>
                    <a:pt x="1714" y="928"/>
                    <a:pt x="1714" y="928"/>
                  </a:cubicBezTo>
                  <a:cubicBezTo>
                    <a:pt x="1714" y="147"/>
                    <a:pt x="1714" y="147"/>
                    <a:pt x="1714" y="147"/>
                  </a:cubicBezTo>
                  <a:cubicBezTo>
                    <a:pt x="1714" y="135"/>
                    <a:pt x="1724" y="125"/>
                    <a:pt x="1736" y="125"/>
                  </a:cubicBezTo>
                  <a:cubicBezTo>
                    <a:pt x="1747" y="125"/>
                    <a:pt x="1747" y="125"/>
                    <a:pt x="1747" y="125"/>
                  </a:cubicBezTo>
                  <a:cubicBezTo>
                    <a:pt x="1747" y="107"/>
                    <a:pt x="1747" y="107"/>
                    <a:pt x="1747" y="107"/>
                  </a:cubicBezTo>
                  <a:cubicBezTo>
                    <a:pt x="1159" y="107"/>
                    <a:pt x="1159" y="107"/>
                    <a:pt x="1159" y="107"/>
                  </a:cubicBezTo>
                  <a:cubicBezTo>
                    <a:pt x="1159" y="125"/>
                    <a:pt x="1159" y="125"/>
                    <a:pt x="1159" y="125"/>
                  </a:cubicBezTo>
                  <a:cubicBezTo>
                    <a:pt x="1170" y="125"/>
                    <a:pt x="1170" y="125"/>
                    <a:pt x="1170" y="125"/>
                  </a:cubicBezTo>
                  <a:cubicBezTo>
                    <a:pt x="1183" y="125"/>
                    <a:pt x="1192" y="135"/>
                    <a:pt x="1192" y="147"/>
                  </a:cubicBezTo>
                  <a:cubicBezTo>
                    <a:pt x="1192" y="928"/>
                    <a:pt x="1192" y="928"/>
                    <a:pt x="1192" y="928"/>
                  </a:cubicBezTo>
                  <a:cubicBezTo>
                    <a:pt x="1148" y="928"/>
                    <a:pt x="1148" y="928"/>
                    <a:pt x="1148" y="928"/>
                  </a:cubicBezTo>
                  <a:cubicBezTo>
                    <a:pt x="1148" y="169"/>
                    <a:pt x="1148" y="169"/>
                    <a:pt x="1148" y="169"/>
                  </a:cubicBezTo>
                  <a:cubicBezTo>
                    <a:pt x="1137" y="169"/>
                    <a:pt x="1137" y="169"/>
                    <a:pt x="1137" y="169"/>
                  </a:cubicBezTo>
                  <a:cubicBezTo>
                    <a:pt x="1125" y="169"/>
                    <a:pt x="1115" y="159"/>
                    <a:pt x="1115" y="147"/>
                  </a:cubicBezTo>
                  <a:cubicBezTo>
                    <a:pt x="1115" y="85"/>
                    <a:pt x="1115" y="85"/>
                    <a:pt x="1115" y="85"/>
                  </a:cubicBezTo>
                  <a:cubicBezTo>
                    <a:pt x="1115" y="73"/>
                    <a:pt x="1125" y="63"/>
                    <a:pt x="1137" y="63"/>
                  </a:cubicBezTo>
                  <a:cubicBezTo>
                    <a:pt x="1176" y="63"/>
                    <a:pt x="1176" y="63"/>
                    <a:pt x="1176" y="63"/>
                  </a:cubicBezTo>
                  <a:cubicBezTo>
                    <a:pt x="1199" y="13"/>
                    <a:pt x="1199" y="13"/>
                    <a:pt x="1199" y="13"/>
                  </a:cubicBezTo>
                  <a:cubicBezTo>
                    <a:pt x="1203" y="5"/>
                    <a:pt x="1211" y="0"/>
                    <a:pt x="1219" y="0"/>
                  </a:cubicBezTo>
                  <a:cubicBezTo>
                    <a:pt x="1687" y="0"/>
                    <a:pt x="1687" y="0"/>
                    <a:pt x="1687" y="0"/>
                  </a:cubicBezTo>
                  <a:cubicBezTo>
                    <a:pt x="1695" y="0"/>
                    <a:pt x="1703" y="5"/>
                    <a:pt x="1707" y="13"/>
                  </a:cubicBezTo>
                  <a:cubicBezTo>
                    <a:pt x="1730" y="63"/>
                    <a:pt x="1730" y="63"/>
                    <a:pt x="1730" y="63"/>
                  </a:cubicBezTo>
                  <a:cubicBezTo>
                    <a:pt x="1769" y="63"/>
                    <a:pt x="1769" y="63"/>
                    <a:pt x="1769" y="63"/>
                  </a:cubicBezTo>
                  <a:cubicBezTo>
                    <a:pt x="1781" y="63"/>
                    <a:pt x="1791" y="73"/>
                    <a:pt x="1791" y="85"/>
                  </a:cubicBezTo>
                  <a:close/>
                  <a:moveTo>
                    <a:pt x="1224" y="63"/>
                  </a:moveTo>
                  <a:cubicBezTo>
                    <a:pt x="1682" y="63"/>
                    <a:pt x="1682" y="63"/>
                    <a:pt x="1682" y="63"/>
                  </a:cubicBezTo>
                  <a:cubicBezTo>
                    <a:pt x="1673" y="44"/>
                    <a:pt x="1673" y="44"/>
                    <a:pt x="1673" y="44"/>
                  </a:cubicBezTo>
                  <a:cubicBezTo>
                    <a:pt x="1233" y="44"/>
                    <a:pt x="1233" y="44"/>
                    <a:pt x="1233" y="44"/>
                  </a:cubicBezTo>
                  <a:lnTo>
                    <a:pt x="1224" y="63"/>
                  </a:lnTo>
                  <a:close/>
                  <a:moveTo>
                    <a:pt x="1326" y="1153"/>
                  </a:moveTo>
                  <a:cubicBezTo>
                    <a:pt x="1319" y="1143"/>
                    <a:pt x="1305" y="1142"/>
                    <a:pt x="1295" y="1149"/>
                  </a:cubicBezTo>
                  <a:cubicBezTo>
                    <a:pt x="1160" y="1254"/>
                    <a:pt x="997" y="1310"/>
                    <a:pt x="825" y="1310"/>
                  </a:cubicBezTo>
                  <a:cubicBezTo>
                    <a:pt x="674" y="1310"/>
                    <a:pt x="531" y="1267"/>
                    <a:pt x="406" y="1186"/>
                  </a:cubicBezTo>
                  <a:cubicBezTo>
                    <a:pt x="437" y="1185"/>
                    <a:pt x="437" y="1185"/>
                    <a:pt x="437" y="1185"/>
                  </a:cubicBezTo>
                  <a:cubicBezTo>
                    <a:pt x="449" y="1184"/>
                    <a:pt x="459" y="1174"/>
                    <a:pt x="458" y="1162"/>
                  </a:cubicBezTo>
                  <a:cubicBezTo>
                    <a:pt x="458" y="1150"/>
                    <a:pt x="448" y="1140"/>
                    <a:pt x="435" y="1141"/>
                  </a:cubicBezTo>
                  <a:cubicBezTo>
                    <a:pt x="340" y="1144"/>
                    <a:pt x="340" y="1144"/>
                    <a:pt x="340" y="1144"/>
                  </a:cubicBezTo>
                  <a:cubicBezTo>
                    <a:pt x="340" y="1144"/>
                    <a:pt x="339" y="1144"/>
                    <a:pt x="339" y="1145"/>
                  </a:cubicBezTo>
                  <a:cubicBezTo>
                    <a:pt x="338" y="1145"/>
                    <a:pt x="338" y="1145"/>
                    <a:pt x="338" y="1145"/>
                  </a:cubicBezTo>
                  <a:cubicBezTo>
                    <a:pt x="337" y="1145"/>
                    <a:pt x="336" y="1145"/>
                    <a:pt x="334" y="1145"/>
                  </a:cubicBezTo>
                  <a:cubicBezTo>
                    <a:pt x="334" y="1145"/>
                    <a:pt x="334" y="1146"/>
                    <a:pt x="334" y="1146"/>
                  </a:cubicBezTo>
                  <a:cubicBezTo>
                    <a:pt x="333" y="1146"/>
                    <a:pt x="332" y="1147"/>
                    <a:pt x="330" y="1147"/>
                  </a:cubicBezTo>
                  <a:cubicBezTo>
                    <a:pt x="330" y="1147"/>
                    <a:pt x="330" y="1147"/>
                    <a:pt x="330" y="1147"/>
                  </a:cubicBezTo>
                  <a:cubicBezTo>
                    <a:pt x="329" y="1148"/>
                    <a:pt x="328" y="1149"/>
                    <a:pt x="327" y="1150"/>
                  </a:cubicBezTo>
                  <a:cubicBezTo>
                    <a:pt x="327" y="1150"/>
                    <a:pt x="327" y="1150"/>
                    <a:pt x="327" y="1150"/>
                  </a:cubicBezTo>
                  <a:cubicBezTo>
                    <a:pt x="326" y="1151"/>
                    <a:pt x="325" y="1152"/>
                    <a:pt x="324" y="1153"/>
                  </a:cubicBezTo>
                  <a:cubicBezTo>
                    <a:pt x="324" y="1153"/>
                    <a:pt x="324" y="1153"/>
                    <a:pt x="324" y="1153"/>
                  </a:cubicBezTo>
                  <a:cubicBezTo>
                    <a:pt x="324" y="1153"/>
                    <a:pt x="324" y="1153"/>
                    <a:pt x="324" y="1153"/>
                  </a:cubicBezTo>
                  <a:cubicBezTo>
                    <a:pt x="323" y="1153"/>
                    <a:pt x="323" y="1154"/>
                    <a:pt x="323" y="1154"/>
                  </a:cubicBezTo>
                  <a:cubicBezTo>
                    <a:pt x="322" y="1155"/>
                    <a:pt x="322" y="1156"/>
                    <a:pt x="321" y="1157"/>
                  </a:cubicBezTo>
                  <a:cubicBezTo>
                    <a:pt x="321" y="1157"/>
                    <a:pt x="321" y="1157"/>
                    <a:pt x="321" y="1157"/>
                  </a:cubicBezTo>
                  <a:cubicBezTo>
                    <a:pt x="321" y="1158"/>
                    <a:pt x="320" y="1159"/>
                    <a:pt x="320" y="1161"/>
                  </a:cubicBezTo>
                  <a:cubicBezTo>
                    <a:pt x="320" y="1161"/>
                    <a:pt x="320" y="1161"/>
                    <a:pt x="320" y="1161"/>
                  </a:cubicBezTo>
                  <a:cubicBezTo>
                    <a:pt x="320" y="1162"/>
                    <a:pt x="319" y="1163"/>
                    <a:pt x="319" y="1165"/>
                  </a:cubicBezTo>
                  <a:cubicBezTo>
                    <a:pt x="319" y="1165"/>
                    <a:pt x="319" y="1165"/>
                    <a:pt x="319" y="1165"/>
                  </a:cubicBezTo>
                  <a:cubicBezTo>
                    <a:pt x="319" y="1166"/>
                    <a:pt x="319" y="1168"/>
                    <a:pt x="319" y="1169"/>
                  </a:cubicBezTo>
                  <a:cubicBezTo>
                    <a:pt x="319" y="1169"/>
                    <a:pt x="319" y="1169"/>
                    <a:pt x="319" y="1170"/>
                  </a:cubicBezTo>
                  <a:cubicBezTo>
                    <a:pt x="320" y="1171"/>
                    <a:pt x="320" y="1172"/>
                    <a:pt x="320" y="1173"/>
                  </a:cubicBezTo>
                  <a:cubicBezTo>
                    <a:pt x="320" y="1173"/>
                    <a:pt x="320" y="1173"/>
                    <a:pt x="320" y="1173"/>
                  </a:cubicBezTo>
                  <a:cubicBezTo>
                    <a:pt x="320" y="1173"/>
                    <a:pt x="320" y="1173"/>
                    <a:pt x="320" y="1173"/>
                  </a:cubicBezTo>
                  <a:cubicBezTo>
                    <a:pt x="351" y="1264"/>
                    <a:pt x="351" y="1264"/>
                    <a:pt x="351" y="1264"/>
                  </a:cubicBezTo>
                  <a:cubicBezTo>
                    <a:pt x="354" y="1273"/>
                    <a:pt x="362" y="1279"/>
                    <a:pt x="372" y="1279"/>
                  </a:cubicBezTo>
                  <a:cubicBezTo>
                    <a:pt x="374" y="1279"/>
                    <a:pt x="376" y="1278"/>
                    <a:pt x="379" y="1277"/>
                  </a:cubicBezTo>
                  <a:cubicBezTo>
                    <a:pt x="390" y="1274"/>
                    <a:pt x="396" y="1261"/>
                    <a:pt x="392" y="1250"/>
                  </a:cubicBezTo>
                  <a:cubicBezTo>
                    <a:pt x="384" y="1224"/>
                    <a:pt x="384" y="1224"/>
                    <a:pt x="384" y="1224"/>
                  </a:cubicBezTo>
                  <a:cubicBezTo>
                    <a:pt x="515" y="1309"/>
                    <a:pt x="666" y="1354"/>
                    <a:pt x="825" y="1354"/>
                  </a:cubicBezTo>
                  <a:cubicBezTo>
                    <a:pt x="1007" y="1354"/>
                    <a:pt x="1179" y="1295"/>
                    <a:pt x="1322" y="1184"/>
                  </a:cubicBezTo>
                  <a:cubicBezTo>
                    <a:pt x="1332" y="1176"/>
                    <a:pt x="1334" y="1162"/>
                    <a:pt x="1326" y="1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Tree>
    <p:extLst>
      <p:ext uri="{BB962C8B-B14F-4D97-AF65-F5344CB8AC3E}">
        <p14:creationId xmlns:p14="http://schemas.microsoft.com/office/powerpoint/2010/main" val="349459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FC9DFEB-B733-4DE6-A6C3-58462BEEA305}"/>
              </a:ext>
            </a:extLst>
          </p:cNvPr>
          <p:cNvGraphicFramePr>
            <a:graphicFrameLocks noChangeAspect="1"/>
          </p:cNvGraphicFramePr>
          <p:nvPr>
            <p:custDataLst>
              <p:tags r:id="rId2"/>
            </p:custDataLst>
            <p:extLst>
              <p:ext uri="{D42A27DB-BD31-4B8C-83A1-F6EECF244321}">
                <p14:modId xmlns:p14="http://schemas.microsoft.com/office/powerpoint/2010/main" val="1823350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5"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BFC9DFEB-B733-4DE6-A6C3-58462BEEA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6A55C19-003E-40E4-8751-8E20D1B838DE}"/>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15" name="Rectangle 14">
            <a:extLst>
              <a:ext uri="{FF2B5EF4-FFF2-40B4-BE49-F238E27FC236}">
                <a16:creationId xmlns:a16="http://schemas.microsoft.com/office/drawing/2014/main" id="{4278D778-D339-4C53-A7D3-57CE5209E243}"/>
              </a:ext>
            </a:extLst>
          </p:cNvPr>
          <p:cNvSpPr/>
          <p:nvPr/>
        </p:nvSpPr>
        <p:spPr>
          <a:xfrm>
            <a:off x="1193736" y="1676400"/>
            <a:ext cx="10377901" cy="1981200"/>
          </a:xfrm>
          <a:prstGeom prst="rect">
            <a:avLst/>
          </a:prstGeom>
          <a:solidFill>
            <a:srgbClr val="E22949">
              <a:alpha val="10000"/>
            </a:srgbClr>
          </a:solidFill>
          <a:ln w="12700">
            <a:solidFill>
              <a:srgbClr val="E22949"/>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endParaRPr lang="cs-CZ" sz="2000" b="1" dirty="0">
              <a:solidFill>
                <a:srgbClr val="FFFFFF"/>
              </a:solidFill>
            </a:endParaRPr>
          </a:p>
        </p:txBody>
      </p:sp>
      <p:sp>
        <p:nvSpPr>
          <p:cNvPr id="2" name="Title 1">
            <a:extLst>
              <a:ext uri="{FF2B5EF4-FFF2-40B4-BE49-F238E27FC236}">
                <a16:creationId xmlns:a16="http://schemas.microsoft.com/office/drawing/2014/main" id="{9FACA16E-E6CE-437F-AF20-BD3226011A33}"/>
              </a:ext>
            </a:extLst>
          </p:cNvPr>
          <p:cNvSpPr>
            <a:spLocks noGrp="1"/>
          </p:cNvSpPr>
          <p:nvPr>
            <p:ph type="title"/>
          </p:nvPr>
        </p:nvSpPr>
        <p:spPr/>
        <p:txBody>
          <a:bodyPr/>
          <a:lstStyle/>
          <a:p>
            <a:r>
              <a:rPr lang="cs-CZ" dirty="0"/>
              <a:t>use-case model</a:t>
            </a:r>
          </a:p>
        </p:txBody>
      </p:sp>
      <p:sp>
        <p:nvSpPr>
          <p:cNvPr id="5" name="Rectangle 4">
            <a:extLst>
              <a:ext uri="{FF2B5EF4-FFF2-40B4-BE49-F238E27FC236}">
                <a16:creationId xmlns:a16="http://schemas.microsoft.com/office/drawing/2014/main" id="{A03CDA9C-7BA4-451D-B0FC-95A472659DE0}"/>
              </a:ext>
            </a:extLst>
          </p:cNvPr>
          <p:cNvSpPr/>
          <p:nvPr/>
        </p:nvSpPr>
        <p:spPr>
          <a:xfrm>
            <a:off x="1172883" y="2935466"/>
            <a:ext cx="1880720"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a:solidFill>
                  <a:schemeClr val="tx2"/>
                </a:solidFill>
              </a:rPr>
              <a:t>(</a:t>
            </a:r>
            <a:r>
              <a:rPr lang="cs-CZ" sz="1600" dirty="0" err="1">
                <a:solidFill>
                  <a:schemeClr val="tx2"/>
                </a:solidFill>
              </a:rPr>
              <a:t>young</a:t>
            </a:r>
            <a:r>
              <a:rPr lang="cs-CZ" sz="1600" dirty="0">
                <a:solidFill>
                  <a:schemeClr val="tx2"/>
                </a:solidFill>
              </a:rPr>
              <a:t>) </a:t>
            </a:r>
            <a:r>
              <a:rPr lang="cs-CZ" sz="1600" dirty="0" err="1">
                <a:solidFill>
                  <a:schemeClr val="tx2"/>
                </a:solidFill>
              </a:rPr>
              <a:t>people</a:t>
            </a:r>
            <a:r>
              <a:rPr lang="cs-CZ" sz="1600" dirty="0">
                <a:solidFill>
                  <a:schemeClr val="tx2"/>
                </a:solidFill>
              </a:rPr>
              <a:t> </a:t>
            </a:r>
            <a:r>
              <a:rPr lang="cs-CZ" sz="1600" dirty="0" err="1">
                <a:solidFill>
                  <a:schemeClr val="tx2"/>
                </a:solidFill>
              </a:rPr>
              <a:t>struggle</a:t>
            </a:r>
            <a:r>
              <a:rPr lang="cs-CZ" sz="1600" dirty="0">
                <a:solidFill>
                  <a:schemeClr val="tx2"/>
                </a:solidFill>
              </a:rPr>
              <a:t> to </a:t>
            </a:r>
            <a:r>
              <a:rPr lang="cs-CZ" sz="1600" dirty="0" err="1">
                <a:solidFill>
                  <a:schemeClr val="tx2"/>
                </a:solidFill>
              </a:rPr>
              <a:t>find</a:t>
            </a:r>
            <a:r>
              <a:rPr lang="cs-CZ" sz="1600" dirty="0">
                <a:solidFill>
                  <a:schemeClr val="tx2"/>
                </a:solidFill>
              </a:rPr>
              <a:t> </a:t>
            </a:r>
            <a:r>
              <a:rPr lang="cs-CZ" sz="1600" dirty="0" err="1">
                <a:solidFill>
                  <a:schemeClr val="tx2"/>
                </a:solidFill>
              </a:rPr>
              <a:t>the</a:t>
            </a:r>
            <a:r>
              <a:rPr lang="cs-CZ" sz="1600" dirty="0">
                <a:solidFill>
                  <a:schemeClr val="tx2"/>
                </a:solidFill>
              </a:rPr>
              <a:t> place to live </a:t>
            </a:r>
            <a:r>
              <a:rPr lang="cs-CZ" sz="1600" dirty="0" err="1">
                <a:solidFill>
                  <a:schemeClr val="tx2"/>
                </a:solidFill>
              </a:rPr>
              <a:t>they</a:t>
            </a:r>
            <a:r>
              <a:rPr lang="cs-CZ" sz="1600" dirty="0">
                <a:solidFill>
                  <a:schemeClr val="tx2"/>
                </a:solidFill>
              </a:rPr>
              <a:t> </a:t>
            </a:r>
            <a:r>
              <a:rPr lang="cs-CZ" sz="1600" dirty="0" err="1">
                <a:solidFill>
                  <a:schemeClr val="tx2"/>
                </a:solidFill>
              </a:rPr>
              <a:t>like</a:t>
            </a:r>
            <a:r>
              <a:rPr lang="cs-CZ" sz="1600" dirty="0">
                <a:solidFill>
                  <a:schemeClr val="tx2"/>
                </a:solidFill>
              </a:rPr>
              <a:t> </a:t>
            </a:r>
          </a:p>
        </p:txBody>
      </p:sp>
      <p:sp>
        <p:nvSpPr>
          <p:cNvPr id="13" name="Rectangle 12">
            <a:extLst>
              <a:ext uri="{FF2B5EF4-FFF2-40B4-BE49-F238E27FC236}">
                <a16:creationId xmlns:a16="http://schemas.microsoft.com/office/drawing/2014/main" id="{103FF162-E962-4C09-BC86-DD1B49AE2B44}"/>
              </a:ext>
            </a:extLst>
          </p:cNvPr>
          <p:cNvSpPr/>
          <p:nvPr/>
        </p:nvSpPr>
        <p:spPr>
          <a:xfrm>
            <a:off x="620363" y="1676400"/>
            <a:ext cx="573373" cy="1981200"/>
          </a:xfrm>
          <a:prstGeom prst="rect">
            <a:avLst/>
          </a:prstGeom>
          <a:solidFill>
            <a:srgbClr val="E22949"/>
          </a:solidFill>
          <a:ln w="12700">
            <a:solidFill>
              <a:srgbClr val="E22949"/>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r>
              <a:rPr lang="cs-CZ" sz="2000" b="1" dirty="0">
                <a:solidFill>
                  <a:srgbClr val="FFFFFF"/>
                </a:solidFill>
              </a:rPr>
              <a:t>Current model</a:t>
            </a:r>
          </a:p>
        </p:txBody>
      </p:sp>
      <p:sp>
        <p:nvSpPr>
          <p:cNvPr id="14" name="Rectangle 13">
            <a:extLst>
              <a:ext uri="{FF2B5EF4-FFF2-40B4-BE49-F238E27FC236}">
                <a16:creationId xmlns:a16="http://schemas.microsoft.com/office/drawing/2014/main" id="{3BD08F0E-8591-4324-9664-C9BE7FDC3F69}"/>
              </a:ext>
            </a:extLst>
          </p:cNvPr>
          <p:cNvSpPr/>
          <p:nvPr/>
        </p:nvSpPr>
        <p:spPr>
          <a:xfrm>
            <a:off x="620363" y="3956484"/>
            <a:ext cx="573373" cy="1981200"/>
          </a:xfrm>
          <a:prstGeom prst="rect">
            <a:avLst/>
          </a:prstGeom>
          <a:solidFill>
            <a:srgbClr val="65BB4B"/>
          </a:solidFill>
          <a:ln w="12700">
            <a:solidFill>
              <a:srgbClr val="65BB4B"/>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r>
              <a:rPr lang="cs-CZ" sz="2000" b="1" dirty="0">
                <a:solidFill>
                  <a:srgbClr val="FFFFFF"/>
                </a:solidFill>
              </a:rPr>
              <a:t>Our model</a:t>
            </a:r>
          </a:p>
        </p:txBody>
      </p:sp>
      <p:sp>
        <p:nvSpPr>
          <p:cNvPr id="16" name="Rectangle 15">
            <a:extLst>
              <a:ext uri="{FF2B5EF4-FFF2-40B4-BE49-F238E27FC236}">
                <a16:creationId xmlns:a16="http://schemas.microsoft.com/office/drawing/2014/main" id="{832E185E-C876-402E-8244-56756993982F}"/>
              </a:ext>
            </a:extLst>
          </p:cNvPr>
          <p:cNvSpPr/>
          <p:nvPr/>
        </p:nvSpPr>
        <p:spPr>
          <a:xfrm>
            <a:off x="1193736" y="3946737"/>
            <a:ext cx="10377901" cy="1981200"/>
          </a:xfrm>
          <a:prstGeom prst="rect">
            <a:avLst/>
          </a:prstGeom>
          <a:solidFill>
            <a:srgbClr val="65BB4B">
              <a:alpha val="10000"/>
            </a:srgbClr>
          </a:solidFill>
          <a:ln w="12700">
            <a:solidFill>
              <a:srgbClr val="65BB4B"/>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lnSpc>
                <a:spcPct val="90000"/>
              </a:lnSpc>
              <a:spcAft>
                <a:spcPts val="1000"/>
              </a:spcAft>
            </a:pPr>
            <a:endParaRPr lang="cs-CZ" sz="2000" b="1" dirty="0">
              <a:solidFill>
                <a:srgbClr val="FFFFFF"/>
              </a:solidFill>
            </a:endParaRPr>
          </a:p>
        </p:txBody>
      </p:sp>
      <p:sp>
        <p:nvSpPr>
          <p:cNvPr id="18" name="Rectangle 17">
            <a:extLst>
              <a:ext uri="{FF2B5EF4-FFF2-40B4-BE49-F238E27FC236}">
                <a16:creationId xmlns:a16="http://schemas.microsoft.com/office/drawing/2014/main" id="{CB8BC672-F48F-4AD0-9E5A-C44DF01D61E6}"/>
              </a:ext>
            </a:extLst>
          </p:cNvPr>
          <p:cNvSpPr/>
          <p:nvPr/>
        </p:nvSpPr>
        <p:spPr>
          <a:xfrm>
            <a:off x="3719736" y="2852936"/>
            <a:ext cx="2457965"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Trying</a:t>
            </a:r>
            <a:r>
              <a:rPr lang="cs-CZ" sz="1600" dirty="0">
                <a:solidFill>
                  <a:schemeClr val="tx2"/>
                </a:solidFill>
              </a:rPr>
              <a:t> to </a:t>
            </a:r>
            <a:r>
              <a:rPr lang="cs-CZ" sz="1600" dirty="0" err="1">
                <a:solidFill>
                  <a:schemeClr val="tx2"/>
                </a:solidFill>
              </a:rPr>
              <a:t>work</a:t>
            </a:r>
            <a:r>
              <a:rPr lang="cs-CZ" sz="1600" dirty="0">
                <a:solidFill>
                  <a:schemeClr val="tx2"/>
                </a:solidFill>
              </a:rPr>
              <a:t> out </a:t>
            </a:r>
            <a:r>
              <a:rPr lang="cs-CZ" sz="1600" dirty="0" err="1">
                <a:solidFill>
                  <a:schemeClr val="tx2"/>
                </a:solidFill>
              </a:rPr>
              <a:t>issue</a:t>
            </a:r>
            <a:r>
              <a:rPr lang="cs-CZ" sz="1600" dirty="0">
                <a:solidFill>
                  <a:schemeClr val="tx2"/>
                </a:solidFill>
              </a:rPr>
              <a:t> </a:t>
            </a:r>
            <a:r>
              <a:rPr lang="cs-CZ" sz="1600" dirty="0" err="1">
                <a:solidFill>
                  <a:schemeClr val="tx2"/>
                </a:solidFill>
              </a:rPr>
              <a:t>alone</a:t>
            </a:r>
            <a:r>
              <a:rPr lang="cs-CZ" sz="1600" dirty="0">
                <a:solidFill>
                  <a:schemeClr val="tx2"/>
                </a:solidFill>
              </a:rPr>
              <a:t> on many </a:t>
            </a:r>
            <a:r>
              <a:rPr lang="cs-CZ" sz="1600" dirty="0" err="1">
                <a:solidFill>
                  <a:schemeClr val="tx2"/>
                </a:solidFill>
              </a:rPr>
              <a:t>sites</a:t>
            </a:r>
            <a:r>
              <a:rPr lang="cs-CZ" sz="1600" dirty="0">
                <a:solidFill>
                  <a:schemeClr val="tx2"/>
                </a:solidFill>
              </a:rPr>
              <a:t> </a:t>
            </a:r>
            <a:r>
              <a:rPr lang="cs-CZ" sz="1600" dirty="0" err="1">
                <a:solidFill>
                  <a:schemeClr val="tx2"/>
                </a:solidFill>
              </a:rPr>
              <a:t>that</a:t>
            </a:r>
            <a:r>
              <a:rPr lang="cs-CZ" sz="1600" dirty="0">
                <a:solidFill>
                  <a:schemeClr val="tx2"/>
                </a:solidFill>
              </a:rPr>
              <a:t> </a:t>
            </a:r>
            <a:r>
              <a:rPr lang="cs-CZ" sz="1600" dirty="0" err="1">
                <a:solidFill>
                  <a:schemeClr val="tx2"/>
                </a:solidFill>
              </a:rPr>
              <a:t>offer</a:t>
            </a:r>
            <a:r>
              <a:rPr lang="cs-CZ" sz="1600" dirty="0">
                <a:solidFill>
                  <a:schemeClr val="tx2"/>
                </a:solidFill>
              </a:rPr>
              <a:t> </a:t>
            </a:r>
            <a:r>
              <a:rPr lang="cs-CZ" sz="1600" dirty="0" err="1">
                <a:solidFill>
                  <a:schemeClr val="tx2"/>
                </a:solidFill>
              </a:rPr>
              <a:t>the</a:t>
            </a:r>
            <a:r>
              <a:rPr lang="cs-CZ" sz="1600" dirty="0">
                <a:solidFill>
                  <a:schemeClr val="tx2"/>
                </a:solidFill>
              </a:rPr>
              <a:t> </a:t>
            </a:r>
            <a:r>
              <a:rPr lang="cs-CZ" sz="1600" dirty="0" err="1">
                <a:solidFill>
                  <a:schemeClr val="tx2"/>
                </a:solidFill>
              </a:rPr>
              <a:t>same</a:t>
            </a:r>
            <a:r>
              <a:rPr lang="cs-CZ" sz="1600" dirty="0">
                <a:solidFill>
                  <a:schemeClr val="tx2"/>
                </a:solidFill>
              </a:rPr>
              <a:t> </a:t>
            </a:r>
            <a:r>
              <a:rPr lang="cs-CZ" sz="1600" dirty="0" err="1">
                <a:solidFill>
                  <a:schemeClr val="tx2"/>
                </a:solidFill>
              </a:rPr>
              <a:t>service</a:t>
            </a:r>
            <a:endParaRPr lang="cs-CZ" sz="1600" dirty="0">
              <a:solidFill>
                <a:schemeClr val="tx2"/>
              </a:solidFill>
            </a:endParaRPr>
          </a:p>
        </p:txBody>
      </p:sp>
      <p:sp>
        <p:nvSpPr>
          <p:cNvPr id="19" name="Rectangle 18">
            <a:extLst>
              <a:ext uri="{FF2B5EF4-FFF2-40B4-BE49-F238E27FC236}">
                <a16:creationId xmlns:a16="http://schemas.microsoft.com/office/drawing/2014/main" id="{104E8CDA-A85C-49F5-AFEB-791F130EDC57}"/>
              </a:ext>
            </a:extLst>
          </p:cNvPr>
          <p:cNvSpPr/>
          <p:nvPr/>
        </p:nvSpPr>
        <p:spPr>
          <a:xfrm>
            <a:off x="6744072" y="2935466"/>
            <a:ext cx="2195296"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Have</a:t>
            </a:r>
            <a:r>
              <a:rPr lang="cs-CZ" sz="1600" dirty="0">
                <a:solidFill>
                  <a:schemeClr val="tx2"/>
                </a:solidFill>
              </a:rPr>
              <a:t> to </a:t>
            </a:r>
            <a:r>
              <a:rPr lang="cs-CZ" sz="1600" dirty="0" err="1">
                <a:solidFill>
                  <a:schemeClr val="tx2"/>
                </a:solidFill>
              </a:rPr>
              <a:t>settle</a:t>
            </a:r>
            <a:r>
              <a:rPr lang="cs-CZ" sz="1600" dirty="0">
                <a:solidFill>
                  <a:schemeClr val="tx2"/>
                </a:solidFill>
              </a:rPr>
              <a:t> for </a:t>
            </a:r>
            <a:r>
              <a:rPr lang="cs-CZ" sz="1600" dirty="0" err="1">
                <a:solidFill>
                  <a:schemeClr val="tx2"/>
                </a:solidFill>
              </a:rPr>
              <a:t>someplace</a:t>
            </a:r>
            <a:r>
              <a:rPr lang="cs-CZ" sz="1600" dirty="0">
                <a:solidFill>
                  <a:schemeClr val="tx2"/>
                </a:solidFill>
              </a:rPr>
              <a:t> </a:t>
            </a:r>
            <a:r>
              <a:rPr lang="cs-CZ" sz="1600" dirty="0" err="1">
                <a:solidFill>
                  <a:schemeClr val="tx2"/>
                </a:solidFill>
              </a:rPr>
              <a:t>expensive</a:t>
            </a:r>
            <a:r>
              <a:rPr lang="cs-CZ" sz="1600" dirty="0">
                <a:solidFill>
                  <a:schemeClr val="tx2"/>
                </a:solidFill>
              </a:rPr>
              <a:t> </a:t>
            </a:r>
            <a:r>
              <a:rPr lang="cs-CZ" sz="1600" dirty="0" err="1">
                <a:solidFill>
                  <a:schemeClr val="tx2"/>
                </a:solidFill>
              </a:rPr>
              <a:t>that</a:t>
            </a:r>
            <a:r>
              <a:rPr lang="cs-CZ" sz="1600" dirty="0">
                <a:solidFill>
                  <a:schemeClr val="tx2"/>
                </a:solidFill>
              </a:rPr>
              <a:t> </a:t>
            </a:r>
            <a:r>
              <a:rPr lang="cs-CZ" sz="1600" dirty="0" err="1">
                <a:solidFill>
                  <a:schemeClr val="tx2"/>
                </a:solidFill>
              </a:rPr>
              <a:t>they</a:t>
            </a:r>
            <a:r>
              <a:rPr lang="cs-CZ" sz="1600" dirty="0">
                <a:solidFill>
                  <a:schemeClr val="tx2"/>
                </a:solidFill>
              </a:rPr>
              <a:t> do not </a:t>
            </a:r>
            <a:r>
              <a:rPr lang="cs-CZ" sz="1600" dirty="0" err="1">
                <a:solidFill>
                  <a:schemeClr val="tx2"/>
                </a:solidFill>
              </a:rPr>
              <a:t>like</a:t>
            </a:r>
            <a:endParaRPr lang="cs-CZ" sz="1600" dirty="0">
              <a:solidFill>
                <a:schemeClr val="tx2"/>
              </a:solidFill>
            </a:endParaRPr>
          </a:p>
        </p:txBody>
      </p:sp>
      <p:cxnSp>
        <p:nvCxnSpPr>
          <p:cNvPr id="28" name="Straight Arrow Connector 27">
            <a:extLst>
              <a:ext uri="{FF2B5EF4-FFF2-40B4-BE49-F238E27FC236}">
                <a16:creationId xmlns:a16="http://schemas.microsoft.com/office/drawing/2014/main" id="{5A116E22-93BC-4C49-A947-646AF0A182B8}"/>
              </a:ext>
            </a:extLst>
          </p:cNvPr>
          <p:cNvCxnSpPr>
            <a:cxnSpLocks/>
          </p:cNvCxnSpPr>
          <p:nvPr/>
        </p:nvCxnSpPr>
        <p:spPr>
          <a:xfrm>
            <a:off x="3071664" y="2926611"/>
            <a:ext cx="648072" cy="0"/>
          </a:xfrm>
          <a:prstGeom prst="straightConnector1">
            <a:avLst/>
          </a:prstGeom>
          <a:ln w="9525">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6EA4EB5-1070-4F64-B5AD-C927E5E09901}"/>
              </a:ext>
            </a:extLst>
          </p:cNvPr>
          <p:cNvCxnSpPr>
            <a:cxnSpLocks/>
          </p:cNvCxnSpPr>
          <p:nvPr/>
        </p:nvCxnSpPr>
        <p:spPr>
          <a:xfrm>
            <a:off x="6023992" y="2926611"/>
            <a:ext cx="792088" cy="0"/>
          </a:xfrm>
          <a:prstGeom prst="straightConnector1">
            <a:avLst/>
          </a:prstGeom>
          <a:ln w="9525">
            <a:solidFill>
              <a:schemeClr val="bg1">
                <a:lumMod val="65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7BFDB773-4FD5-4C9F-8F95-E0C55E8F6BC7}"/>
              </a:ext>
            </a:extLst>
          </p:cNvPr>
          <p:cNvSpPr/>
          <p:nvPr/>
        </p:nvSpPr>
        <p:spPr>
          <a:xfrm>
            <a:off x="1334960" y="5017836"/>
            <a:ext cx="1433440"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People</a:t>
            </a:r>
            <a:r>
              <a:rPr lang="cs-CZ" sz="1600" dirty="0">
                <a:solidFill>
                  <a:schemeClr val="tx2"/>
                </a:solidFill>
              </a:rPr>
              <a:t> </a:t>
            </a:r>
            <a:r>
              <a:rPr lang="cs-CZ" sz="1600" dirty="0" err="1">
                <a:solidFill>
                  <a:schemeClr val="tx2"/>
                </a:solidFill>
              </a:rPr>
              <a:t>want</a:t>
            </a:r>
            <a:r>
              <a:rPr lang="cs-CZ" sz="1600" dirty="0">
                <a:solidFill>
                  <a:schemeClr val="tx2"/>
                </a:solidFill>
              </a:rPr>
              <a:t> to </a:t>
            </a:r>
            <a:r>
              <a:rPr lang="cs-CZ" sz="1600" dirty="0" err="1">
                <a:solidFill>
                  <a:schemeClr val="tx2"/>
                </a:solidFill>
              </a:rPr>
              <a:t>find</a:t>
            </a:r>
            <a:r>
              <a:rPr lang="cs-CZ" sz="1600" dirty="0">
                <a:solidFill>
                  <a:schemeClr val="tx2"/>
                </a:solidFill>
              </a:rPr>
              <a:t> </a:t>
            </a:r>
            <a:r>
              <a:rPr lang="cs-CZ" sz="1600" dirty="0" err="1">
                <a:solidFill>
                  <a:schemeClr val="tx2"/>
                </a:solidFill>
              </a:rPr>
              <a:t>the</a:t>
            </a:r>
            <a:r>
              <a:rPr lang="cs-CZ" sz="1600" dirty="0">
                <a:solidFill>
                  <a:schemeClr val="tx2"/>
                </a:solidFill>
              </a:rPr>
              <a:t> place to live</a:t>
            </a:r>
          </a:p>
        </p:txBody>
      </p:sp>
      <p:sp>
        <p:nvSpPr>
          <p:cNvPr id="36" name="Rectangle 35">
            <a:extLst>
              <a:ext uri="{FF2B5EF4-FFF2-40B4-BE49-F238E27FC236}">
                <a16:creationId xmlns:a16="http://schemas.microsoft.com/office/drawing/2014/main" id="{98F0A393-A025-467A-87B5-F0F2FEE73D7A}"/>
              </a:ext>
            </a:extLst>
          </p:cNvPr>
          <p:cNvSpPr/>
          <p:nvPr/>
        </p:nvSpPr>
        <p:spPr>
          <a:xfrm>
            <a:off x="3285814" y="5017836"/>
            <a:ext cx="1819586"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a:solidFill>
                  <a:schemeClr val="tx2"/>
                </a:solidFill>
              </a:rPr>
              <a:t>Input </a:t>
            </a:r>
            <a:r>
              <a:rPr lang="cs-CZ" sz="1600" dirty="0" err="1">
                <a:solidFill>
                  <a:schemeClr val="tx2"/>
                </a:solidFill>
              </a:rPr>
              <a:t>their</a:t>
            </a:r>
            <a:r>
              <a:rPr lang="cs-CZ" sz="1600" dirty="0">
                <a:solidFill>
                  <a:schemeClr val="tx2"/>
                </a:solidFill>
              </a:rPr>
              <a:t> </a:t>
            </a:r>
            <a:r>
              <a:rPr lang="cs-CZ" sz="1600" dirty="0" err="1">
                <a:solidFill>
                  <a:schemeClr val="tx2"/>
                </a:solidFill>
              </a:rPr>
              <a:t>priorities</a:t>
            </a:r>
            <a:endParaRPr lang="cs-CZ" sz="1600" dirty="0">
              <a:solidFill>
                <a:schemeClr val="tx2"/>
              </a:solidFill>
            </a:endParaRPr>
          </a:p>
        </p:txBody>
      </p:sp>
      <p:sp>
        <p:nvSpPr>
          <p:cNvPr id="37" name="Rectangle 36">
            <a:extLst>
              <a:ext uri="{FF2B5EF4-FFF2-40B4-BE49-F238E27FC236}">
                <a16:creationId xmlns:a16="http://schemas.microsoft.com/office/drawing/2014/main" id="{9A1B1570-A155-4178-96C8-6129CCF46004}"/>
              </a:ext>
            </a:extLst>
          </p:cNvPr>
          <p:cNvSpPr/>
          <p:nvPr/>
        </p:nvSpPr>
        <p:spPr>
          <a:xfrm>
            <a:off x="5860497" y="5017836"/>
            <a:ext cx="1819586"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Comparison</a:t>
            </a:r>
            <a:r>
              <a:rPr lang="cs-CZ" sz="1600" dirty="0">
                <a:solidFill>
                  <a:schemeClr val="tx2"/>
                </a:solidFill>
              </a:rPr>
              <a:t> to a </a:t>
            </a:r>
            <a:r>
              <a:rPr lang="cs-CZ" sz="1600" dirty="0" err="1">
                <a:solidFill>
                  <a:schemeClr val="tx2"/>
                </a:solidFill>
              </a:rPr>
              <a:t>large</a:t>
            </a:r>
            <a:r>
              <a:rPr lang="cs-CZ" sz="1600" dirty="0">
                <a:solidFill>
                  <a:schemeClr val="tx2"/>
                </a:solidFill>
              </a:rPr>
              <a:t> </a:t>
            </a:r>
            <a:r>
              <a:rPr lang="cs-CZ" sz="1600" dirty="0" err="1">
                <a:solidFill>
                  <a:schemeClr val="tx2"/>
                </a:solidFill>
              </a:rPr>
              <a:t>historical</a:t>
            </a:r>
            <a:r>
              <a:rPr lang="cs-CZ" sz="1600" dirty="0">
                <a:solidFill>
                  <a:schemeClr val="tx2"/>
                </a:solidFill>
              </a:rPr>
              <a:t> </a:t>
            </a:r>
            <a:r>
              <a:rPr lang="cs-CZ" sz="1600" dirty="0" err="1">
                <a:solidFill>
                  <a:schemeClr val="tx2"/>
                </a:solidFill>
              </a:rPr>
              <a:t>dataset</a:t>
            </a:r>
            <a:endParaRPr lang="cs-CZ" sz="1600" dirty="0">
              <a:solidFill>
                <a:schemeClr val="tx2"/>
              </a:solidFill>
            </a:endParaRPr>
          </a:p>
        </p:txBody>
      </p:sp>
      <p:sp>
        <p:nvSpPr>
          <p:cNvPr id="38" name="Rectangle 37">
            <a:extLst>
              <a:ext uri="{FF2B5EF4-FFF2-40B4-BE49-F238E27FC236}">
                <a16:creationId xmlns:a16="http://schemas.microsoft.com/office/drawing/2014/main" id="{04BB6B94-8971-49FD-92A9-536474B42152}"/>
              </a:ext>
            </a:extLst>
          </p:cNvPr>
          <p:cNvSpPr/>
          <p:nvPr/>
        </p:nvSpPr>
        <p:spPr>
          <a:xfrm>
            <a:off x="8435180" y="5017836"/>
            <a:ext cx="2744808"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sz="1600" dirty="0" err="1">
                <a:solidFill>
                  <a:schemeClr val="tx2"/>
                </a:solidFill>
              </a:rPr>
              <a:t>Strategic</a:t>
            </a:r>
            <a:r>
              <a:rPr lang="cs-CZ" sz="1600" dirty="0">
                <a:solidFill>
                  <a:schemeClr val="tx2"/>
                </a:solidFill>
              </a:rPr>
              <a:t> </a:t>
            </a:r>
            <a:r>
              <a:rPr lang="cs-CZ" sz="1600" dirty="0" err="1">
                <a:solidFill>
                  <a:schemeClr val="tx2"/>
                </a:solidFill>
              </a:rPr>
              <a:t>smart</a:t>
            </a:r>
            <a:r>
              <a:rPr lang="cs-CZ" sz="1600" dirty="0">
                <a:solidFill>
                  <a:schemeClr val="tx2"/>
                </a:solidFill>
              </a:rPr>
              <a:t> </a:t>
            </a:r>
            <a:r>
              <a:rPr lang="cs-CZ" sz="1600" dirty="0" err="1">
                <a:solidFill>
                  <a:schemeClr val="tx2"/>
                </a:solidFill>
              </a:rPr>
              <a:t>recommendation</a:t>
            </a:r>
            <a:r>
              <a:rPr lang="cs-CZ" sz="1600" dirty="0">
                <a:solidFill>
                  <a:schemeClr val="tx2"/>
                </a:solidFill>
              </a:rPr>
              <a:t> and </a:t>
            </a:r>
            <a:r>
              <a:rPr lang="cs-CZ" sz="1600" dirty="0" err="1">
                <a:solidFill>
                  <a:schemeClr val="tx2"/>
                </a:solidFill>
              </a:rPr>
              <a:t>best</a:t>
            </a:r>
            <a:r>
              <a:rPr lang="cs-CZ" sz="1600" dirty="0">
                <a:solidFill>
                  <a:schemeClr val="tx2"/>
                </a:solidFill>
              </a:rPr>
              <a:t> </a:t>
            </a:r>
            <a:r>
              <a:rPr lang="cs-CZ" sz="1600" dirty="0" err="1">
                <a:solidFill>
                  <a:schemeClr val="tx2"/>
                </a:solidFill>
              </a:rPr>
              <a:t>practices</a:t>
            </a:r>
            <a:endParaRPr lang="cs-CZ" sz="1600" dirty="0">
              <a:solidFill>
                <a:schemeClr val="tx2"/>
              </a:solidFill>
            </a:endParaRPr>
          </a:p>
        </p:txBody>
      </p:sp>
      <p:sp>
        <p:nvSpPr>
          <p:cNvPr id="39" name="Freeform: Shape 38">
            <a:extLst>
              <a:ext uri="{FF2B5EF4-FFF2-40B4-BE49-F238E27FC236}">
                <a16:creationId xmlns:a16="http://schemas.microsoft.com/office/drawing/2014/main" id="{BC064EE4-FA69-451A-8AA8-023896874463}"/>
              </a:ext>
            </a:extLst>
          </p:cNvPr>
          <p:cNvSpPr/>
          <p:nvPr/>
        </p:nvSpPr>
        <p:spPr>
          <a:xfrm>
            <a:off x="4964557" y="5491537"/>
            <a:ext cx="4376083" cy="258803"/>
          </a:xfrm>
          <a:custGeom>
            <a:avLst/>
            <a:gdLst>
              <a:gd name="connsiteX0" fmla="*/ 0 w 4866612"/>
              <a:gd name="connsiteY0" fmla="*/ 43542 h 228600"/>
              <a:gd name="connsiteX1" fmla="*/ 2275114 w 4866612"/>
              <a:gd name="connsiteY1" fmla="*/ 228600 h 228600"/>
              <a:gd name="connsiteX2" fmla="*/ 4604657 w 4866612"/>
              <a:gd name="connsiteY2" fmla="*/ 43542 h 228600"/>
              <a:gd name="connsiteX3" fmla="*/ 4811485 w 4866612"/>
              <a:gd name="connsiteY3" fmla="*/ 0 h 228600"/>
              <a:gd name="connsiteX4" fmla="*/ 4811485 w 4866612"/>
              <a:gd name="connsiteY4" fmla="*/ 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6612" h="228600">
                <a:moveTo>
                  <a:pt x="0" y="43542"/>
                </a:moveTo>
                <a:cubicBezTo>
                  <a:pt x="753835" y="136071"/>
                  <a:pt x="1507671" y="228600"/>
                  <a:pt x="2275114" y="228600"/>
                </a:cubicBezTo>
                <a:cubicBezTo>
                  <a:pt x="3042557" y="228600"/>
                  <a:pt x="4181929" y="81642"/>
                  <a:pt x="4604657" y="43542"/>
                </a:cubicBezTo>
                <a:cubicBezTo>
                  <a:pt x="5027385" y="5442"/>
                  <a:pt x="4811485" y="0"/>
                  <a:pt x="4811485" y="0"/>
                </a:cubicBezTo>
                <a:lnTo>
                  <a:pt x="4811485" y="0"/>
                </a:lnTo>
              </a:path>
            </a:pathLst>
          </a:custGeom>
          <a:noFill/>
          <a:ln w="12700" cap="flat" cmpd="sng" algn="ctr">
            <a:solidFill>
              <a:srgbClr val="9A9A9A"/>
            </a:solidFill>
            <a:prstDash val="dash"/>
            <a:round/>
            <a:headEnd type="none" w="med" len="med"/>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cxnSp>
        <p:nvCxnSpPr>
          <p:cNvPr id="40" name="Straight Arrow Connector 39">
            <a:extLst>
              <a:ext uri="{FF2B5EF4-FFF2-40B4-BE49-F238E27FC236}">
                <a16:creationId xmlns:a16="http://schemas.microsoft.com/office/drawing/2014/main" id="{429ECB56-C2D2-4EBB-9BA8-ED88EA05E62D}"/>
              </a:ext>
            </a:extLst>
          </p:cNvPr>
          <p:cNvCxnSpPr>
            <a:cxnSpLocks/>
          </p:cNvCxnSpPr>
          <p:nvPr/>
        </p:nvCxnSpPr>
        <p:spPr>
          <a:xfrm>
            <a:off x="2563374" y="5239520"/>
            <a:ext cx="865626" cy="0"/>
          </a:xfrm>
          <a:prstGeom prst="straightConnector1">
            <a:avLst/>
          </a:prstGeom>
          <a:ln w="9525">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07EFDF0-EFE0-4E41-B781-C68F16318F89}"/>
              </a:ext>
            </a:extLst>
          </p:cNvPr>
          <p:cNvCxnSpPr>
            <a:cxnSpLocks/>
          </p:cNvCxnSpPr>
          <p:nvPr/>
        </p:nvCxnSpPr>
        <p:spPr>
          <a:xfrm>
            <a:off x="5105400" y="5239520"/>
            <a:ext cx="865626" cy="0"/>
          </a:xfrm>
          <a:prstGeom prst="straightConnector1">
            <a:avLst/>
          </a:prstGeom>
          <a:ln w="9525">
            <a:solidFill>
              <a:schemeClr val="bg1">
                <a:lumMod val="65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C4670DC7-5454-4D87-9491-C30280FCDFDB}"/>
              </a:ext>
            </a:extLst>
          </p:cNvPr>
          <p:cNvCxnSpPr>
            <a:cxnSpLocks/>
          </p:cNvCxnSpPr>
          <p:nvPr/>
        </p:nvCxnSpPr>
        <p:spPr>
          <a:xfrm>
            <a:off x="7578542" y="5239520"/>
            <a:ext cx="865626" cy="0"/>
          </a:xfrm>
          <a:prstGeom prst="straightConnector1">
            <a:avLst/>
          </a:prstGeom>
          <a:ln w="9525">
            <a:solidFill>
              <a:schemeClr val="bg1">
                <a:lumMod val="65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grpSp>
        <p:nvGrpSpPr>
          <p:cNvPr id="51" name="bcgIcons_BarChartAnalysis">
            <a:extLst>
              <a:ext uri="{FF2B5EF4-FFF2-40B4-BE49-F238E27FC236}">
                <a16:creationId xmlns:a16="http://schemas.microsoft.com/office/drawing/2014/main" id="{84226BA2-5894-4214-A201-DF9A00EBFED5}"/>
              </a:ext>
            </a:extLst>
          </p:cNvPr>
          <p:cNvGrpSpPr>
            <a:grpSpLocks noChangeAspect="1"/>
          </p:cNvGrpSpPr>
          <p:nvPr/>
        </p:nvGrpSpPr>
        <p:grpSpPr bwMode="auto">
          <a:xfrm>
            <a:off x="3863752" y="4175068"/>
            <a:ext cx="769692" cy="738776"/>
            <a:chOff x="2163" y="667"/>
            <a:chExt cx="3560" cy="3417"/>
          </a:xfrm>
          <a:solidFill>
            <a:schemeClr val="tx2"/>
          </a:solidFill>
        </p:grpSpPr>
        <p:sp>
          <p:nvSpPr>
            <p:cNvPr id="53" name="Freeform 15">
              <a:extLst>
                <a:ext uri="{FF2B5EF4-FFF2-40B4-BE49-F238E27FC236}">
                  <a16:creationId xmlns:a16="http://schemas.microsoft.com/office/drawing/2014/main" id="{DD99D085-D85A-4D13-964A-A0F25576611D}"/>
                </a:ext>
              </a:extLst>
            </p:cNvPr>
            <p:cNvSpPr>
              <a:spLocks noEditPoints="1"/>
            </p:cNvSpPr>
            <p:nvPr/>
          </p:nvSpPr>
          <p:spPr bwMode="auto">
            <a:xfrm>
              <a:off x="2351" y="855"/>
              <a:ext cx="2739" cy="2209"/>
            </a:xfrm>
            <a:custGeom>
              <a:avLst/>
              <a:gdLst>
                <a:gd name="T0" fmla="*/ 312 w 1462"/>
                <a:gd name="T1" fmla="*/ 609 h 1178"/>
                <a:gd name="T2" fmla="*/ 312 w 1462"/>
                <a:gd name="T3" fmla="*/ 1020 h 1178"/>
                <a:gd name="T4" fmla="*/ 303 w 1462"/>
                <a:gd name="T5" fmla="*/ 1030 h 1178"/>
                <a:gd name="T6" fmla="*/ 9 w 1462"/>
                <a:gd name="T7" fmla="*/ 1030 h 1178"/>
                <a:gd name="T8" fmla="*/ 0 w 1462"/>
                <a:gd name="T9" fmla="*/ 1020 h 1178"/>
                <a:gd name="T10" fmla="*/ 0 w 1462"/>
                <a:gd name="T11" fmla="*/ 609 h 1178"/>
                <a:gd name="T12" fmla="*/ 9 w 1462"/>
                <a:gd name="T13" fmla="*/ 600 h 1178"/>
                <a:gd name="T14" fmla="*/ 303 w 1462"/>
                <a:gd name="T15" fmla="*/ 600 h 1178"/>
                <a:gd name="T16" fmla="*/ 312 w 1462"/>
                <a:gd name="T17" fmla="*/ 609 h 1178"/>
                <a:gd name="T18" fmla="*/ 1453 w 1462"/>
                <a:gd name="T19" fmla="*/ 0 h 1178"/>
                <a:gd name="T20" fmla="*/ 1160 w 1462"/>
                <a:gd name="T21" fmla="*/ 0 h 1178"/>
                <a:gd name="T22" fmla="*/ 1150 w 1462"/>
                <a:gd name="T23" fmla="*/ 10 h 1178"/>
                <a:gd name="T24" fmla="*/ 1150 w 1462"/>
                <a:gd name="T25" fmla="*/ 420 h 1178"/>
                <a:gd name="T26" fmla="*/ 1286 w 1462"/>
                <a:gd name="T27" fmla="*/ 519 h 1178"/>
                <a:gd name="T28" fmla="*/ 1382 w 1462"/>
                <a:gd name="T29" fmla="*/ 1030 h 1178"/>
                <a:gd name="T30" fmla="*/ 1453 w 1462"/>
                <a:gd name="T31" fmla="*/ 1030 h 1178"/>
                <a:gd name="T32" fmla="*/ 1462 w 1462"/>
                <a:gd name="T33" fmla="*/ 1020 h 1178"/>
                <a:gd name="T34" fmla="*/ 1462 w 1462"/>
                <a:gd name="T35" fmla="*/ 10 h 1178"/>
                <a:gd name="T36" fmla="*/ 1453 w 1462"/>
                <a:gd name="T37" fmla="*/ 0 h 1178"/>
                <a:gd name="T38" fmla="*/ 735 w 1462"/>
                <a:gd name="T39" fmla="*/ 593 h 1178"/>
                <a:gd name="T40" fmla="*/ 715 w 1462"/>
                <a:gd name="T41" fmla="*/ 611 h 1178"/>
                <a:gd name="T42" fmla="*/ 706 w 1462"/>
                <a:gd name="T43" fmla="*/ 1077 h 1178"/>
                <a:gd name="T44" fmla="*/ 735 w 1462"/>
                <a:gd name="T45" fmla="*/ 1104 h 1178"/>
                <a:gd name="T46" fmla="*/ 735 w 1462"/>
                <a:gd name="T47" fmla="*/ 593 h 1178"/>
                <a:gd name="T48" fmla="*/ 944 w 1462"/>
                <a:gd name="T49" fmla="*/ 519 h 1178"/>
                <a:gd name="T50" fmla="*/ 838 w 1462"/>
                <a:gd name="T51" fmla="*/ 536 h 1178"/>
                <a:gd name="T52" fmla="*/ 838 w 1462"/>
                <a:gd name="T53" fmla="*/ 1161 h 1178"/>
                <a:gd name="T54" fmla="*/ 944 w 1462"/>
                <a:gd name="T55" fmla="*/ 1178 h 1178"/>
                <a:gd name="T56" fmla="*/ 1144 w 1462"/>
                <a:gd name="T57" fmla="*/ 1110 h 1178"/>
                <a:gd name="T58" fmla="*/ 1146 w 1462"/>
                <a:gd name="T59" fmla="*/ 1109 h 1178"/>
                <a:gd name="T60" fmla="*/ 1172 w 1462"/>
                <a:gd name="T61" fmla="*/ 1086 h 1178"/>
                <a:gd name="T62" fmla="*/ 1200 w 1462"/>
                <a:gd name="T63" fmla="*/ 1056 h 1178"/>
                <a:gd name="T64" fmla="*/ 1181 w 1462"/>
                <a:gd name="T65" fmla="*/ 620 h 1178"/>
                <a:gd name="T66" fmla="*/ 944 w 1462"/>
                <a:gd name="T67" fmla="*/ 519 h 1178"/>
                <a:gd name="T68" fmla="*/ 944 w 1462"/>
                <a:gd name="T69" fmla="*/ 374 h 1178"/>
                <a:gd name="T70" fmla="*/ 1079 w 1462"/>
                <a:gd name="T71" fmla="*/ 393 h 1178"/>
                <a:gd name="T72" fmla="*/ 1079 w 1462"/>
                <a:gd name="T73" fmla="*/ 253 h 1178"/>
                <a:gd name="T74" fmla="*/ 1069 w 1462"/>
                <a:gd name="T75" fmla="*/ 243 h 1178"/>
                <a:gd name="T76" fmla="*/ 776 w 1462"/>
                <a:gd name="T77" fmla="*/ 243 h 1178"/>
                <a:gd name="T78" fmla="*/ 766 w 1462"/>
                <a:gd name="T79" fmla="*/ 253 h 1178"/>
                <a:gd name="T80" fmla="*/ 766 w 1462"/>
                <a:gd name="T81" fmla="*/ 408 h 1178"/>
                <a:gd name="T82" fmla="*/ 944 w 1462"/>
                <a:gd name="T83" fmla="*/ 374 h 1178"/>
                <a:gd name="T84" fmla="*/ 614 w 1462"/>
                <a:gd name="T85" fmla="*/ 506 h 1178"/>
                <a:gd name="T86" fmla="*/ 696 w 1462"/>
                <a:gd name="T87" fmla="*/ 443 h 1178"/>
                <a:gd name="T88" fmla="*/ 696 w 1462"/>
                <a:gd name="T89" fmla="*/ 89 h 1178"/>
                <a:gd name="T90" fmla="*/ 686 w 1462"/>
                <a:gd name="T91" fmla="*/ 73 h 1178"/>
                <a:gd name="T92" fmla="*/ 393 w 1462"/>
                <a:gd name="T93" fmla="*/ 73 h 1178"/>
                <a:gd name="T94" fmla="*/ 383 w 1462"/>
                <a:gd name="T95" fmla="*/ 89 h 1178"/>
                <a:gd name="T96" fmla="*/ 383 w 1462"/>
                <a:gd name="T97" fmla="*/ 1015 h 1178"/>
                <a:gd name="T98" fmla="*/ 393 w 1462"/>
                <a:gd name="T99" fmla="*/ 1030 h 1178"/>
                <a:gd name="T100" fmla="*/ 505 w 1462"/>
                <a:gd name="T101" fmla="*/ 1030 h 1178"/>
                <a:gd name="T102" fmla="*/ 614 w 1462"/>
                <a:gd name="T103" fmla="*/ 506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62" h="1178">
                  <a:moveTo>
                    <a:pt x="312" y="609"/>
                  </a:moveTo>
                  <a:cubicBezTo>
                    <a:pt x="312" y="1020"/>
                    <a:pt x="312" y="1020"/>
                    <a:pt x="312" y="1020"/>
                  </a:cubicBezTo>
                  <a:cubicBezTo>
                    <a:pt x="312" y="1026"/>
                    <a:pt x="308" y="1030"/>
                    <a:pt x="303" y="1030"/>
                  </a:cubicBezTo>
                  <a:cubicBezTo>
                    <a:pt x="9" y="1030"/>
                    <a:pt x="9" y="1030"/>
                    <a:pt x="9" y="1030"/>
                  </a:cubicBezTo>
                  <a:cubicBezTo>
                    <a:pt x="4" y="1030"/>
                    <a:pt x="0" y="1026"/>
                    <a:pt x="0" y="1020"/>
                  </a:cubicBezTo>
                  <a:cubicBezTo>
                    <a:pt x="0" y="609"/>
                    <a:pt x="0" y="609"/>
                    <a:pt x="0" y="609"/>
                  </a:cubicBezTo>
                  <a:cubicBezTo>
                    <a:pt x="0" y="604"/>
                    <a:pt x="4" y="600"/>
                    <a:pt x="9" y="600"/>
                  </a:cubicBezTo>
                  <a:cubicBezTo>
                    <a:pt x="303" y="600"/>
                    <a:pt x="303" y="600"/>
                    <a:pt x="303" y="600"/>
                  </a:cubicBezTo>
                  <a:cubicBezTo>
                    <a:pt x="308" y="600"/>
                    <a:pt x="312" y="604"/>
                    <a:pt x="312" y="609"/>
                  </a:cubicBezTo>
                  <a:close/>
                  <a:moveTo>
                    <a:pt x="1453" y="0"/>
                  </a:moveTo>
                  <a:cubicBezTo>
                    <a:pt x="1160" y="0"/>
                    <a:pt x="1160" y="0"/>
                    <a:pt x="1160" y="0"/>
                  </a:cubicBezTo>
                  <a:cubicBezTo>
                    <a:pt x="1154" y="0"/>
                    <a:pt x="1150" y="4"/>
                    <a:pt x="1150" y="10"/>
                  </a:cubicBezTo>
                  <a:cubicBezTo>
                    <a:pt x="1150" y="420"/>
                    <a:pt x="1150" y="420"/>
                    <a:pt x="1150" y="420"/>
                  </a:cubicBezTo>
                  <a:cubicBezTo>
                    <a:pt x="1200" y="444"/>
                    <a:pt x="1246" y="478"/>
                    <a:pt x="1286" y="519"/>
                  </a:cubicBezTo>
                  <a:cubicBezTo>
                    <a:pt x="1419" y="658"/>
                    <a:pt x="1453" y="859"/>
                    <a:pt x="1382" y="1030"/>
                  </a:cubicBezTo>
                  <a:cubicBezTo>
                    <a:pt x="1453" y="1030"/>
                    <a:pt x="1453" y="1030"/>
                    <a:pt x="1453" y="1030"/>
                  </a:cubicBezTo>
                  <a:cubicBezTo>
                    <a:pt x="1458" y="1030"/>
                    <a:pt x="1462" y="1026"/>
                    <a:pt x="1462" y="1020"/>
                  </a:cubicBezTo>
                  <a:cubicBezTo>
                    <a:pt x="1462" y="10"/>
                    <a:pt x="1462" y="10"/>
                    <a:pt x="1462" y="10"/>
                  </a:cubicBezTo>
                  <a:cubicBezTo>
                    <a:pt x="1462" y="4"/>
                    <a:pt x="1458" y="0"/>
                    <a:pt x="1453" y="0"/>
                  </a:cubicBezTo>
                  <a:close/>
                  <a:moveTo>
                    <a:pt x="735" y="593"/>
                  </a:moveTo>
                  <a:cubicBezTo>
                    <a:pt x="728" y="599"/>
                    <a:pt x="721" y="605"/>
                    <a:pt x="715" y="611"/>
                  </a:cubicBezTo>
                  <a:cubicBezTo>
                    <a:pt x="584" y="737"/>
                    <a:pt x="580" y="946"/>
                    <a:pt x="706" y="1077"/>
                  </a:cubicBezTo>
                  <a:cubicBezTo>
                    <a:pt x="715" y="1087"/>
                    <a:pt x="725" y="1095"/>
                    <a:pt x="735" y="1104"/>
                  </a:cubicBezTo>
                  <a:lnTo>
                    <a:pt x="735" y="593"/>
                  </a:lnTo>
                  <a:close/>
                  <a:moveTo>
                    <a:pt x="944" y="519"/>
                  </a:moveTo>
                  <a:cubicBezTo>
                    <a:pt x="907" y="519"/>
                    <a:pt x="872" y="525"/>
                    <a:pt x="838" y="536"/>
                  </a:cubicBezTo>
                  <a:cubicBezTo>
                    <a:pt x="838" y="1161"/>
                    <a:pt x="838" y="1161"/>
                    <a:pt x="838" y="1161"/>
                  </a:cubicBezTo>
                  <a:cubicBezTo>
                    <a:pt x="872" y="1172"/>
                    <a:pt x="907" y="1178"/>
                    <a:pt x="944" y="1178"/>
                  </a:cubicBezTo>
                  <a:cubicBezTo>
                    <a:pt x="1016" y="1178"/>
                    <a:pt x="1087" y="1154"/>
                    <a:pt x="1144" y="1110"/>
                  </a:cubicBezTo>
                  <a:cubicBezTo>
                    <a:pt x="1146" y="1109"/>
                    <a:pt x="1146" y="1109"/>
                    <a:pt x="1146" y="1109"/>
                  </a:cubicBezTo>
                  <a:cubicBezTo>
                    <a:pt x="1153" y="1103"/>
                    <a:pt x="1162" y="1096"/>
                    <a:pt x="1172" y="1086"/>
                  </a:cubicBezTo>
                  <a:cubicBezTo>
                    <a:pt x="1182" y="1077"/>
                    <a:pt x="1191" y="1067"/>
                    <a:pt x="1200" y="1056"/>
                  </a:cubicBezTo>
                  <a:cubicBezTo>
                    <a:pt x="1304" y="927"/>
                    <a:pt x="1296" y="740"/>
                    <a:pt x="1181" y="620"/>
                  </a:cubicBezTo>
                  <a:cubicBezTo>
                    <a:pt x="1119" y="555"/>
                    <a:pt x="1034" y="519"/>
                    <a:pt x="944" y="519"/>
                  </a:cubicBezTo>
                  <a:close/>
                  <a:moveTo>
                    <a:pt x="944" y="374"/>
                  </a:moveTo>
                  <a:cubicBezTo>
                    <a:pt x="990" y="374"/>
                    <a:pt x="1036" y="380"/>
                    <a:pt x="1079" y="393"/>
                  </a:cubicBezTo>
                  <a:cubicBezTo>
                    <a:pt x="1079" y="253"/>
                    <a:pt x="1079" y="253"/>
                    <a:pt x="1079" y="253"/>
                  </a:cubicBezTo>
                  <a:cubicBezTo>
                    <a:pt x="1079" y="247"/>
                    <a:pt x="1075" y="243"/>
                    <a:pt x="1069" y="243"/>
                  </a:cubicBezTo>
                  <a:cubicBezTo>
                    <a:pt x="776" y="243"/>
                    <a:pt x="776" y="243"/>
                    <a:pt x="776" y="243"/>
                  </a:cubicBezTo>
                  <a:cubicBezTo>
                    <a:pt x="771" y="243"/>
                    <a:pt x="766" y="247"/>
                    <a:pt x="766" y="253"/>
                  </a:cubicBezTo>
                  <a:cubicBezTo>
                    <a:pt x="766" y="408"/>
                    <a:pt x="766" y="408"/>
                    <a:pt x="766" y="408"/>
                  </a:cubicBezTo>
                  <a:cubicBezTo>
                    <a:pt x="822" y="385"/>
                    <a:pt x="882" y="374"/>
                    <a:pt x="944" y="374"/>
                  </a:cubicBezTo>
                  <a:close/>
                  <a:moveTo>
                    <a:pt x="614" y="506"/>
                  </a:moveTo>
                  <a:cubicBezTo>
                    <a:pt x="639" y="482"/>
                    <a:pt x="667" y="461"/>
                    <a:pt x="696" y="443"/>
                  </a:cubicBezTo>
                  <a:cubicBezTo>
                    <a:pt x="696" y="89"/>
                    <a:pt x="696" y="89"/>
                    <a:pt x="696" y="89"/>
                  </a:cubicBezTo>
                  <a:cubicBezTo>
                    <a:pt x="696" y="80"/>
                    <a:pt x="691" y="73"/>
                    <a:pt x="686" y="73"/>
                  </a:cubicBezTo>
                  <a:cubicBezTo>
                    <a:pt x="393" y="73"/>
                    <a:pt x="393" y="73"/>
                    <a:pt x="393" y="73"/>
                  </a:cubicBezTo>
                  <a:cubicBezTo>
                    <a:pt x="387" y="73"/>
                    <a:pt x="383" y="80"/>
                    <a:pt x="383" y="89"/>
                  </a:cubicBezTo>
                  <a:cubicBezTo>
                    <a:pt x="383" y="1015"/>
                    <a:pt x="383" y="1015"/>
                    <a:pt x="383" y="1015"/>
                  </a:cubicBezTo>
                  <a:cubicBezTo>
                    <a:pt x="383" y="1023"/>
                    <a:pt x="387" y="1030"/>
                    <a:pt x="393" y="1030"/>
                  </a:cubicBezTo>
                  <a:cubicBezTo>
                    <a:pt x="505" y="1030"/>
                    <a:pt x="505" y="1030"/>
                    <a:pt x="505" y="1030"/>
                  </a:cubicBezTo>
                  <a:cubicBezTo>
                    <a:pt x="433" y="855"/>
                    <a:pt x="470" y="645"/>
                    <a:pt x="614" y="5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54" name="Freeform 16">
              <a:extLst>
                <a:ext uri="{FF2B5EF4-FFF2-40B4-BE49-F238E27FC236}">
                  <a16:creationId xmlns:a16="http://schemas.microsoft.com/office/drawing/2014/main" id="{3BF73FEF-59F8-473F-A453-87EFAF83A59B}"/>
                </a:ext>
              </a:extLst>
            </p:cNvPr>
            <p:cNvSpPr>
              <a:spLocks noEditPoints="1"/>
            </p:cNvSpPr>
            <p:nvPr/>
          </p:nvSpPr>
          <p:spPr bwMode="auto">
            <a:xfrm>
              <a:off x="2163" y="667"/>
              <a:ext cx="3560" cy="3417"/>
            </a:xfrm>
            <a:custGeom>
              <a:avLst/>
              <a:gdLst>
                <a:gd name="T0" fmla="*/ 734 w 1900"/>
                <a:gd name="T1" fmla="*/ 1246 h 1822"/>
                <a:gd name="T2" fmla="*/ 1284 w 1900"/>
                <a:gd name="T3" fmla="*/ 1303 h 1822"/>
                <a:gd name="T4" fmla="*/ 1385 w 1900"/>
                <a:gd name="T5" fmla="*/ 1407 h 1822"/>
                <a:gd name="T6" fmla="*/ 1401 w 1900"/>
                <a:gd name="T7" fmla="*/ 1407 h 1822"/>
                <a:gd name="T8" fmla="*/ 1493 w 1900"/>
                <a:gd name="T9" fmla="*/ 1320 h 1822"/>
                <a:gd name="T10" fmla="*/ 1493 w 1900"/>
                <a:gd name="T11" fmla="*/ 1303 h 1822"/>
                <a:gd name="T12" fmla="*/ 1392 w 1900"/>
                <a:gd name="T13" fmla="*/ 1198 h 1822"/>
                <a:gd name="T14" fmla="*/ 1353 w 1900"/>
                <a:gd name="T15" fmla="*/ 651 h 1822"/>
                <a:gd name="T16" fmla="*/ 746 w 1900"/>
                <a:gd name="T17" fmla="*/ 639 h 1822"/>
                <a:gd name="T18" fmla="*/ 734 w 1900"/>
                <a:gd name="T19" fmla="*/ 1246 h 1822"/>
                <a:gd name="T20" fmla="*/ 1272 w 1900"/>
                <a:gd name="T21" fmla="*/ 1246 h 1822"/>
                <a:gd name="T22" fmla="*/ 773 w 1900"/>
                <a:gd name="T23" fmla="*/ 1209 h 1822"/>
                <a:gd name="T24" fmla="*/ 783 w 1900"/>
                <a:gd name="T25" fmla="*/ 678 h 1822"/>
                <a:gd name="T26" fmla="*/ 1314 w 1900"/>
                <a:gd name="T27" fmla="*/ 688 h 1822"/>
                <a:gd name="T28" fmla="*/ 1336 w 1900"/>
                <a:gd name="T29" fmla="*/ 1185 h 1822"/>
                <a:gd name="T30" fmla="*/ 1304 w 1900"/>
                <a:gd name="T31" fmla="*/ 1219 h 1822"/>
                <a:gd name="T32" fmla="*/ 1272 w 1900"/>
                <a:gd name="T33" fmla="*/ 1246 h 1822"/>
                <a:gd name="T34" fmla="*/ 1765 w 1900"/>
                <a:gd name="T35" fmla="*/ 1822 h 1822"/>
                <a:gd name="T36" fmla="*/ 1727 w 1900"/>
                <a:gd name="T37" fmla="*/ 1807 h 1822"/>
                <a:gd name="T38" fmla="*/ 1417 w 1900"/>
                <a:gd name="T39" fmla="*/ 1484 h 1822"/>
                <a:gd name="T40" fmla="*/ 1418 w 1900"/>
                <a:gd name="T41" fmla="*/ 1453 h 1822"/>
                <a:gd name="T42" fmla="*/ 1541 w 1900"/>
                <a:gd name="T43" fmla="*/ 1334 h 1822"/>
                <a:gd name="T44" fmla="*/ 1557 w 1900"/>
                <a:gd name="T45" fmla="*/ 1327 h 1822"/>
                <a:gd name="T46" fmla="*/ 1572 w 1900"/>
                <a:gd name="T47" fmla="*/ 1334 h 1822"/>
                <a:gd name="T48" fmla="*/ 1882 w 1900"/>
                <a:gd name="T49" fmla="*/ 1659 h 1822"/>
                <a:gd name="T50" fmla="*/ 1891 w 1900"/>
                <a:gd name="T51" fmla="*/ 1721 h 1822"/>
                <a:gd name="T52" fmla="*/ 1851 w 1900"/>
                <a:gd name="T53" fmla="*/ 1781 h 1822"/>
                <a:gd name="T54" fmla="*/ 1789 w 1900"/>
                <a:gd name="T55" fmla="*/ 1819 h 1822"/>
                <a:gd name="T56" fmla="*/ 1765 w 1900"/>
                <a:gd name="T57" fmla="*/ 1822 h 1822"/>
                <a:gd name="T58" fmla="*/ 1464 w 1900"/>
                <a:gd name="T59" fmla="*/ 1469 h 1822"/>
                <a:gd name="T60" fmla="*/ 1759 w 1900"/>
                <a:gd name="T61" fmla="*/ 1777 h 1822"/>
                <a:gd name="T62" fmla="*/ 1777 w 1900"/>
                <a:gd name="T63" fmla="*/ 1777 h 1822"/>
                <a:gd name="T64" fmla="*/ 1820 w 1900"/>
                <a:gd name="T65" fmla="*/ 1749 h 1822"/>
                <a:gd name="T66" fmla="*/ 1849 w 1900"/>
                <a:gd name="T67" fmla="*/ 1707 h 1822"/>
                <a:gd name="T68" fmla="*/ 1851 w 1900"/>
                <a:gd name="T69" fmla="*/ 1689 h 1822"/>
                <a:gd name="T70" fmla="*/ 1556 w 1900"/>
                <a:gd name="T71" fmla="*/ 1381 h 1822"/>
                <a:gd name="T72" fmla="*/ 1464 w 1900"/>
                <a:gd name="T73" fmla="*/ 1469 h 1822"/>
                <a:gd name="T74" fmla="*/ 1640 w 1900"/>
                <a:gd name="T75" fmla="*/ 0 h 1822"/>
                <a:gd name="T76" fmla="*/ 22 w 1900"/>
                <a:gd name="T77" fmla="*/ 0 h 1822"/>
                <a:gd name="T78" fmla="*/ 0 w 1900"/>
                <a:gd name="T79" fmla="*/ 22 h 1822"/>
                <a:gd name="T80" fmla="*/ 0 w 1900"/>
                <a:gd name="T81" fmla="*/ 1208 h 1822"/>
                <a:gd name="T82" fmla="*/ 22 w 1900"/>
                <a:gd name="T83" fmla="*/ 1230 h 1822"/>
                <a:gd name="T84" fmla="*/ 661 w 1900"/>
                <a:gd name="T85" fmla="*/ 1230 h 1822"/>
                <a:gd name="T86" fmla="*/ 633 w 1900"/>
                <a:gd name="T87" fmla="*/ 1186 h 1822"/>
                <a:gd name="T88" fmla="*/ 44 w 1900"/>
                <a:gd name="T89" fmla="*/ 1186 h 1822"/>
                <a:gd name="T90" fmla="*/ 44 w 1900"/>
                <a:gd name="T91" fmla="*/ 44 h 1822"/>
                <a:gd name="T92" fmla="*/ 1618 w 1900"/>
                <a:gd name="T93" fmla="*/ 44 h 1822"/>
                <a:gd name="T94" fmla="*/ 1618 w 1900"/>
                <a:gd name="T95" fmla="*/ 1186 h 1822"/>
                <a:gd name="T96" fmla="*/ 1454 w 1900"/>
                <a:gd name="T97" fmla="*/ 1186 h 1822"/>
                <a:gd name="T98" fmla="*/ 1451 w 1900"/>
                <a:gd name="T99" fmla="*/ 1192 h 1822"/>
                <a:gd name="T100" fmla="*/ 1487 w 1900"/>
                <a:gd name="T101" fmla="*/ 1230 h 1822"/>
                <a:gd name="T102" fmla="*/ 1640 w 1900"/>
                <a:gd name="T103" fmla="*/ 1230 h 1822"/>
                <a:gd name="T104" fmla="*/ 1662 w 1900"/>
                <a:gd name="T105" fmla="*/ 1208 h 1822"/>
                <a:gd name="T106" fmla="*/ 1662 w 1900"/>
                <a:gd name="T107" fmla="*/ 22 h 1822"/>
                <a:gd name="T108" fmla="*/ 1640 w 1900"/>
                <a:gd name="T109" fmla="*/ 0 h 1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00" h="1822">
                  <a:moveTo>
                    <a:pt x="734" y="1246"/>
                  </a:moveTo>
                  <a:cubicBezTo>
                    <a:pt x="881" y="1399"/>
                    <a:pt x="1115" y="1418"/>
                    <a:pt x="1284" y="1303"/>
                  </a:cubicBezTo>
                  <a:cubicBezTo>
                    <a:pt x="1284" y="1303"/>
                    <a:pt x="1284" y="1303"/>
                    <a:pt x="1385" y="1407"/>
                  </a:cubicBezTo>
                  <a:cubicBezTo>
                    <a:pt x="1389" y="1412"/>
                    <a:pt x="1397" y="1412"/>
                    <a:pt x="1401" y="1407"/>
                  </a:cubicBezTo>
                  <a:cubicBezTo>
                    <a:pt x="1401" y="1407"/>
                    <a:pt x="1401" y="1407"/>
                    <a:pt x="1493" y="1320"/>
                  </a:cubicBezTo>
                  <a:cubicBezTo>
                    <a:pt x="1498" y="1315"/>
                    <a:pt x="1498" y="1308"/>
                    <a:pt x="1493" y="1303"/>
                  </a:cubicBezTo>
                  <a:cubicBezTo>
                    <a:pt x="1493" y="1303"/>
                    <a:pt x="1493" y="1303"/>
                    <a:pt x="1392" y="1198"/>
                  </a:cubicBezTo>
                  <a:cubicBezTo>
                    <a:pt x="1510" y="1033"/>
                    <a:pt x="1498" y="802"/>
                    <a:pt x="1353" y="651"/>
                  </a:cubicBezTo>
                  <a:cubicBezTo>
                    <a:pt x="1188" y="480"/>
                    <a:pt x="917" y="475"/>
                    <a:pt x="746" y="639"/>
                  </a:cubicBezTo>
                  <a:cubicBezTo>
                    <a:pt x="576" y="803"/>
                    <a:pt x="571" y="1075"/>
                    <a:pt x="734" y="1246"/>
                  </a:cubicBezTo>
                  <a:close/>
                  <a:moveTo>
                    <a:pt x="1272" y="1246"/>
                  </a:moveTo>
                  <a:cubicBezTo>
                    <a:pt x="1123" y="1361"/>
                    <a:pt x="907" y="1348"/>
                    <a:pt x="773" y="1209"/>
                  </a:cubicBezTo>
                  <a:cubicBezTo>
                    <a:pt x="630" y="1060"/>
                    <a:pt x="634" y="821"/>
                    <a:pt x="783" y="678"/>
                  </a:cubicBezTo>
                  <a:cubicBezTo>
                    <a:pt x="932" y="534"/>
                    <a:pt x="1171" y="539"/>
                    <a:pt x="1314" y="688"/>
                  </a:cubicBezTo>
                  <a:cubicBezTo>
                    <a:pt x="1447" y="826"/>
                    <a:pt x="1453" y="1040"/>
                    <a:pt x="1336" y="1185"/>
                  </a:cubicBezTo>
                  <a:cubicBezTo>
                    <a:pt x="1326" y="1197"/>
                    <a:pt x="1315" y="1208"/>
                    <a:pt x="1304" y="1219"/>
                  </a:cubicBezTo>
                  <a:cubicBezTo>
                    <a:pt x="1294" y="1229"/>
                    <a:pt x="1284" y="1238"/>
                    <a:pt x="1272" y="1246"/>
                  </a:cubicBezTo>
                  <a:close/>
                  <a:moveTo>
                    <a:pt x="1765" y="1822"/>
                  </a:moveTo>
                  <a:cubicBezTo>
                    <a:pt x="1750" y="1822"/>
                    <a:pt x="1736" y="1817"/>
                    <a:pt x="1727" y="1807"/>
                  </a:cubicBezTo>
                  <a:cubicBezTo>
                    <a:pt x="1417" y="1484"/>
                    <a:pt x="1417" y="1484"/>
                    <a:pt x="1417" y="1484"/>
                  </a:cubicBezTo>
                  <a:cubicBezTo>
                    <a:pt x="1409" y="1475"/>
                    <a:pt x="1409" y="1461"/>
                    <a:pt x="1418" y="1453"/>
                  </a:cubicBezTo>
                  <a:cubicBezTo>
                    <a:pt x="1541" y="1334"/>
                    <a:pt x="1541" y="1334"/>
                    <a:pt x="1541" y="1334"/>
                  </a:cubicBezTo>
                  <a:cubicBezTo>
                    <a:pt x="1545" y="1330"/>
                    <a:pt x="1551" y="1327"/>
                    <a:pt x="1557" y="1327"/>
                  </a:cubicBezTo>
                  <a:cubicBezTo>
                    <a:pt x="1563" y="1328"/>
                    <a:pt x="1568" y="1330"/>
                    <a:pt x="1572" y="1334"/>
                  </a:cubicBezTo>
                  <a:cubicBezTo>
                    <a:pt x="1882" y="1659"/>
                    <a:pt x="1882" y="1659"/>
                    <a:pt x="1882" y="1659"/>
                  </a:cubicBezTo>
                  <a:cubicBezTo>
                    <a:pt x="1896" y="1673"/>
                    <a:pt x="1900" y="1696"/>
                    <a:pt x="1891" y="1721"/>
                  </a:cubicBezTo>
                  <a:cubicBezTo>
                    <a:pt x="1884" y="1742"/>
                    <a:pt x="1870" y="1763"/>
                    <a:pt x="1851" y="1781"/>
                  </a:cubicBezTo>
                  <a:cubicBezTo>
                    <a:pt x="1832" y="1799"/>
                    <a:pt x="1810" y="1813"/>
                    <a:pt x="1789" y="1819"/>
                  </a:cubicBezTo>
                  <a:cubicBezTo>
                    <a:pt x="1781" y="1821"/>
                    <a:pt x="1773" y="1822"/>
                    <a:pt x="1765" y="1822"/>
                  </a:cubicBezTo>
                  <a:close/>
                  <a:moveTo>
                    <a:pt x="1464" y="1469"/>
                  </a:moveTo>
                  <a:cubicBezTo>
                    <a:pt x="1759" y="1777"/>
                    <a:pt x="1759" y="1777"/>
                    <a:pt x="1759" y="1777"/>
                  </a:cubicBezTo>
                  <a:cubicBezTo>
                    <a:pt x="1760" y="1778"/>
                    <a:pt x="1766" y="1780"/>
                    <a:pt x="1777" y="1777"/>
                  </a:cubicBezTo>
                  <a:cubicBezTo>
                    <a:pt x="1791" y="1773"/>
                    <a:pt x="1806" y="1763"/>
                    <a:pt x="1820" y="1749"/>
                  </a:cubicBezTo>
                  <a:cubicBezTo>
                    <a:pt x="1834" y="1736"/>
                    <a:pt x="1845" y="1721"/>
                    <a:pt x="1849" y="1707"/>
                  </a:cubicBezTo>
                  <a:cubicBezTo>
                    <a:pt x="1853" y="1696"/>
                    <a:pt x="1852" y="1690"/>
                    <a:pt x="1851" y="1689"/>
                  </a:cubicBezTo>
                  <a:cubicBezTo>
                    <a:pt x="1556" y="1381"/>
                    <a:pt x="1556" y="1381"/>
                    <a:pt x="1556" y="1381"/>
                  </a:cubicBezTo>
                  <a:lnTo>
                    <a:pt x="1464" y="1469"/>
                  </a:lnTo>
                  <a:close/>
                  <a:moveTo>
                    <a:pt x="1640" y="0"/>
                  </a:moveTo>
                  <a:cubicBezTo>
                    <a:pt x="22" y="0"/>
                    <a:pt x="22" y="0"/>
                    <a:pt x="22" y="0"/>
                  </a:cubicBezTo>
                  <a:cubicBezTo>
                    <a:pt x="10" y="0"/>
                    <a:pt x="0" y="10"/>
                    <a:pt x="0" y="22"/>
                  </a:cubicBezTo>
                  <a:cubicBezTo>
                    <a:pt x="0" y="1208"/>
                    <a:pt x="0" y="1208"/>
                    <a:pt x="0" y="1208"/>
                  </a:cubicBezTo>
                  <a:cubicBezTo>
                    <a:pt x="0" y="1220"/>
                    <a:pt x="10" y="1230"/>
                    <a:pt x="22" y="1230"/>
                  </a:cubicBezTo>
                  <a:cubicBezTo>
                    <a:pt x="661" y="1230"/>
                    <a:pt x="661" y="1230"/>
                    <a:pt x="661" y="1230"/>
                  </a:cubicBezTo>
                  <a:cubicBezTo>
                    <a:pt x="651" y="1216"/>
                    <a:pt x="641" y="1201"/>
                    <a:pt x="633" y="1186"/>
                  </a:cubicBezTo>
                  <a:cubicBezTo>
                    <a:pt x="44" y="1186"/>
                    <a:pt x="44" y="1186"/>
                    <a:pt x="44" y="1186"/>
                  </a:cubicBezTo>
                  <a:cubicBezTo>
                    <a:pt x="44" y="44"/>
                    <a:pt x="44" y="44"/>
                    <a:pt x="44" y="44"/>
                  </a:cubicBezTo>
                  <a:cubicBezTo>
                    <a:pt x="1618" y="44"/>
                    <a:pt x="1618" y="44"/>
                    <a:pt x="1618" y="44"/>
                  </a:cubicBezTo>
                  <a:cubicBezTo>
                    <a:pt x="1618" y="1186"/>
                    <a:pt x="1618" y="1186"/>
                    <a:pt x="1618" y="1186"/>
                  </a:cubicBezTo>
                  <a:cubicBezTo>
                    <a:pt x="1454" y="1186"/>
                    <a:pt x="1454" y="1186"/>
                    <a:pt x="1454" y="1186"/>
                  </a:cubicBezTo>
                  <a:cubicBezTo>
                    <a:pt x="1453" y="1188"/>
                    <a:pt x="1452" y="1190"/>
                    <a:pt x="1451" y="1192"/>
                  </a:cubicBezTo>
                  <a:cubicBezTo>
                    <a:pt x="1487" y="1230"/>
                    <a:pt x="1487" y="1230"/>
                    <a:pt x="1487" y="1230"/>
                  </a:cubicBezTo>
                  <a:cubicBezTo>
                    <a:pt x="1640" y="1230"/>
                    <a:pt x="1640" y="1230"/>
                    <a:pt x="1640" y="1230"/>
                  </a:cubicBezTo>
                  <a:cubicBezTo>
                    <a:pt x="1652" y="1230"/>
                    <a:pt x="1662" y="1220"/>
                    <a:pt x="1662" y="1208"/>
                  </a:cubicBezTo>
                  <a:cubicBezTo>
                    <a:pt x="1662" y="22"/>
                    <a:pt x="1662" y="22"/>
                    <a:pt x="1662" y="22"/>
                  </a:cubicBezTo>
                  <a:cubicBezTo>
                    <a:pt x="1662" y="10"/>
                    <a:pt x="1652" y="0"/>
                    <a:pt x="16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grpSp>
        <p:nvGrpSpPr>
          <p:cNvPr id="59" name="bcgIcons_B2B">
            <a:extLst>
              <a:ext uri="{FF2B5EF4-FFF2-40B4-BE49-F238E27FC236}">
                <a16:creationId xmlns:a16="http://schemas.microsoft.com/office/drawing/2014/main" id="{488A60AB-A53C-494F-BBE1-8C69396480C7}"/>
              </a:ext>
            </a:extLst>
          </p:cNvPr>
          <p:cNvGrpSpPr>
            <a:grpSpLocks noChangeAspect="1"/>
          </p:cNvGrpSpPr>
          <p:nvPr/>
        </p:nvGrpSpPr>
        <p:grpSpPr bwMode="auto">
          <a:xfrm>
            <a:off x="6413314" y="4270157"/>
            <a:ext cx="770673" cy="633328"/>
            <a:chOff x="1987" y="638"/>
            <a:chExt cx="3709" cy="3048"/>
          </a:xfrm>
          <a:solidFill>
            <a:schemeClr val="tx2"/>
          </a:solidFill>
        </p:grpSpPr>
        <p:sp>
          <p:nvSpPr>
            <p:cNvPr id="60" name="Freeform 10">
              <a:extLst>
                <a:ext uri="{FF2B5EF4-FFF2-40B4-BE49-F238E27FC236}">
                  <a16:creationId xmlns:a16="http://schemas.microsoft.com/office/drawing/2014/main" id="{18F67176-F722-40DC-B284-72CD7D8A2084}"/>
                </a:ext>
              </a:extLst>
            </p:cNvPr>
            <p:cNvSpPr>
              <a:spLocks noEditPoints="1"/>
            </p:cNvSpPr>
            <p:nvPr/>
          </p:nvSpPr>
          <p:spPr bwMode="auto">
            <a:xfrm>
              <a:off x="1987" y="638"/>
              <a:ext cx="3400" cy="2491"/>
            </a:xfrm>
            <a:custGeom>
              <a:avLst/>
              <a:gdLst>
                <a:gd name="T0" fmla="*/ 678 w 1815"/>
                <a:gd name="T1" fmla="*/ 1247 h 1329"/>
                <a:gd name="T2" fmla="*/ 46 w 1815"/>
                <a:gd name="T3" fmla="*/ 1247 h 1329"/>
                <a:gd name="T4" fmla="*/ 0 w 1815"/>
                <a:gd name="T5" fmla="*/ 1274 h 1329"/>
                <a:gd name="T6" fmla="*/ 712 w 1815"/>
                <a:gd name="T7" fmla="*/ 1329 h 1329"/>
                <a:gd name="T8" fmla="*/ 712 w 1815"/>
                <a:gd name="T9" fmla="*/ 1262 h 1329"/>
                <a:gd name="T10" fmla="*/ 616 w 1815"/>
                <a:gd name="T11" fmla="*/ 285 h 1329"/>
                <a:gd name="T12" fmla="*/ 108 w 1815"/>
                <a:gd name="T13" fmla="*/ 285 h 1329"/>
                <a:gd name="T14" fmla="*/ 24 w 1815"/>
                <a:gd name="T15" fmla="*/ 357 h 1329"/>
                <a:gd name="T16" fmla="*/ 57 w 1815"/>
                <a:gd name="T17" fmla="*/ 441 h 1329"/>
                <a:gd name="T18" fmla="*/ 101 w 1815"/>
                <a:gd name="T19" fmla="*/ 419 h 1329"/>
                <a:gd name="T20" fmla="*/ 68 w 1815"/>
                <a:gd name="T21" fmla="*/ 379 h 1329"/>
                <a:gd name="T22" fmla="*/ 645 w 1815"/>
                <a:gd name="T23" fmla="*/ 397 h 1329"/>
                <a:gd name="T24" fmla="*/ 667 w 1815"/>
                <a:gd name="T25" fmla="*/ 1200 h 1329"/>
                <a:gd name="T26" fmla="*/ 700 w 1815"/>
                <a:gd name="T27" fmla="*/ 419 h 1329"/>
                <a:gd name="T28" fmla="*/ 142 w 1815"/>
                <a:gd name="T29" fmla="*/ 316 h 1329"/>
                <a:gd name="T30" fmla="*/ 133 w 1815"/>
                <a:gd name="T31" fmla="*/ 335 h 1329"/>
                <a:gd name="T32" fmla="*/ 1485 w 1815"/>
                <a:gd name="T33" fmla="*/ 1200 h 1329"/>
                <a:gd name="T34" fmla="*/ 1485 w 1815"/>
                <a:gd name="T35" fmla="*/ 1016 h 1329"/>
                <a:gd name="T36" fmla="*/ 1607 w 1815"/>
                <a:gd name="T37" fmla="*/ 1190 h 1329"/>
                <a:gd name="T38" fmla="*/ 1639 w 1815"/>
                <a:gd name="T39" fmla="*/ 1200 h 1329"/>
                <a:gd name="T40" fmla="*/ 1639 w 1815"/>
                <a:gd name="T41" fmla="*/ 1016 h 1329"/>
                <a:gd name="T42" fmla="*/ 1761 w 1815"/>
                <a:gd name="T43" fmla="*/ 1190 h 1329"/>
                <a:gd name="T44" fmla="*/ 1565 w 1815"/>
                <a:gd name="T45" fmla="*/ 436 h 1329"/>
                <a:gd name="T46" fmla="*/ 1671 w 1815"/>
                <a:gd name="T47" fmla="*/ 436 h 1329"/>
                <a:gd name="T48" fmla="*/ 1575 w 1815"/>
                <a:gd name="T49" fmla="*/ 574 h 1329"/>
                <a:gd name="T50" fmla="*/ 1565 w 1815"/>
                <a:gd name="T51" fmla="*/ 613 h 1329"/>
                <a:gd name="T52" fmla="*/ 1671 w 1815"/>
                <a:gd name="T53" fmla="*/ 613 h 1329"/>
                <a:gd name="T54" fmla="*/ 1575 w 1815"/>
                <a:gd name="T55" fmla="*/ 750 h 1329"/>
                <a:gd name="T56" fmla="*/ 1421 w 1815"/>
                <a:gd name="T57" fmla="*/ 436 h 1329"/>
                <a:gd name="T58" fmla="*/ 1527 w 1815"/>
                <a:gd name="T59" fmla="*/ 436 h 1329"/>
                <a:gd name="T60" fmla="*/ 1431 w 1815"/>
                <a:gd name="T61" fmla="*/ 574 h 1329"/>
                <a:gd name="T62" fmla="*/ 1421 w 1815"/>
                <a:gd name="T63" fmla="*/ 613 h 1329"/>
                <a:gd name="T64" fmla="*/ 1527 w 1815"/>
                <a:gd name="T65" fmla="*/ 613 h 1329"/>
                <a:gd name="T66" fmla="*/ 1431 w 1815"/>
                <a:gd name="T67" fmla="*/ 750 h 1329"/>
                <a:gd name="T68" fmla="*/ 1709 w 1815"/>
                <a:gd name="T69" fmla="*/ 436 h 1329"/>
                <a:gd name="T70" fmla="*/ 1815 w 1815"/>
                <a:gd name="T71" fmla="*/ 436 h 1329"/>
                <a:gd name="T72" fmla="*/ 1719 w 1815"/>
                <a:gd name="T73" fmla="*/ 574 h 1329"/>
                <a:gd name="T74" fmla="*/ 1709 w 1815"/>
                <a:gd name="T75" fmla="*/ 613 h 1329"/>
                <a:gd name="T76" fmla="*/ 1815 w 1815"/>
                <a:gd name="T77" fmla="*/ 613 h 1329"/>
                <a:gd name="T78" fmla="*/ 1719 w 1815"/>
                <a:gd name="T79" fmla="*/ 750 h 1329"/>
                <a:gd name="T80" fmla="*/ 1565 w 1815"/>
                <a:gd name="T81" fmla="*/ 789 h 1329"/>
                <a:gd name="T82" fmla="*/ 1671 w 1815"/>
                <a:gd name="T83" fmla="*/ 789 h 1329"/>
                <a:gd name="T84" fmla="*/ 1575 w 1815"/>
                <a:gd name="T85" fmla="*/ 927 h 1329"/>
                <a:gd name="T86" fmla="*/ 1421 w 1815"/>
                <a:gd name="T87" fmla="*/ 789 h 1329"/>
                <a:gd name="T88" fmla="*/ 1527 w 1815"/>
                <a:gd name="T89" fmla="*/ 789 h 1329"/>
                <a:gd name="T90" fmla="*/ 1431 w 1815"/>
                <a:gd name="T91" fmla="*/ 927 h 1329"/>
                <a:gd name="T92" fmla="*/ 1709 w 1815"/>
                <a:gd name="T93" fmla="*/ 789 h 1329"/>
                <a:gd name="T94" fmla="*/ 1815 w 1815"/>
                <a:gd name="T95" fmla="*/ 789 h 1329"/>
                <a:gd name="T96" fmla="*/ 1719 w 1815"/>
                <a:gd name="T97" fmla="*/ 927 h 1329"/>
                <a:gd name="T98" fmla="*/ 1493 w 1815"/>
                <a:gd name="T99" fmla="*/ 197 h 1329"/>
                <a:gd name="T100" fmla="*/ 1491 w 1815"/>
                <a:gd name="T101" fmla="*/ 201 h 1329"/>
                <a:gd name="T102" fmla="*/ 1488 w 1815"/>
                <a:gd name="T103" fmla="*/ 204 h 1329"/>
                <a:gd name="T104" fmla="*/ 1481 w 1815"/>
                <a:gd name="T105" fmla="*/ 208 h 1329"/>
                <a:gd name="T106" fmla="*/ 1476 w 1815"/>
                <a:gd name="T107" fmla="*/ 209 h 1329"/>
                <a:gd name="T108" fmla="*/ 1379 w 1815"/>
                <a:gd name="T109" fmla="*/ 213 h 1329"/>
                <a:gd name="T110" fmla="*/ 1409 w 1815"/>
                <a:gd name="T111" fmla="*/ 168 h 1329"/>
                <a:gd name="T112" fmla="*/ 506 w 1815"/>
                <a:gd name="T113" fmla="*/ 210 h 1329"/>
                <a:gd name="T114" fmla="*/ 990 w 1815"/>
                <a:gd name="T115" fmla="*/ 0 h 1329"/>
                <a:gd name="T116" fmla="*/ 1436 w 1815"/>
                <a:gd name="T117" fmla="*/ 77 h 1329"/>
                <a:gd name="T118" fmla="*/ 1495 w 1815"/>
                <a:gd name="T119" fmla="*/ 181 h 1329"/>
                <a:gd name="T120" fmla="*/ 1496 w 1815"/>
                <a:gd name="T121" fmla="*/ 185 h 1329"/>
                <a:gd name="T122" fmla="*/ 1495 w 1815"/>
                <a:gd name="T123" fmla="*/ 193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29">
                  <a:moveTo>
                    <a:pt x="712" y="1262"/>
                  </a:moveTo>
                  <a:cubicBezTo>
                    <a:pt x="678" y="1262"/>
                    <a:pt x="678" y="1262"/>
                    <a:pt x="678" y="1262"/>
                  </a:cubicBezTo>
                  <a:cubicBezTo>
                    <a:pt x="678" y="1247"/>
                    <a:pt x="678" y="1247"/>
                    <a:pt x="678" y="1247"/>
                  </a:cubicBezTo>
                  <a:cubicBezTo>
                    <a:pt x="678" y="1240"/>
                    <a:pt x="673" y="1235"/>
                    <a:pt x="666" y="1235"/>
                  </a:cubicBezTo>
                  <a:cubicBezTo>
                    <a:pt x="57" y="1235"/>
                    <a:pt x="57" y="1235"/>
                    <a:pt x="57" y="1235"/>
                  </a:cubicBezTo>
                  <a:cubicBezTo>
                    <a:pt x="51" y="1235"/>
                    <a:pt x="46" y="1240"/>
                    <a:pt x="46" y="1247"/>
                  </a:cubicBezTo>
                  <a:cubicBezTo>
                    <a:pt x="46" y="1262"/>
                    <a:pt x="46" y="1262"/>
                    <a:pt x="46" y="1262"/>
                  </a:cubicBezTo>
                  <a:cubicBezTo>
                    <a:pt x="12" y="1262"/>
                    <a:pt x="12" y="1262"/>
                    <a:pt x="12" y="1262"/>
                  </a:cubicBezTo>
                  <a:cubicBezTo>
                    <a:pt x="5" y="1262"/>
                    <a:pt x="0" y="1268"/>
                    <a:pt x="0" y="1274"/>
                  </a:cubicBezTo>
                  <a:cubicBezTo>
                    <a:pt x="0" y="1318"/>
                    <a:pt x="0" y="1318"/>
                    <a:pt x="0" y="1318"/>
                  </a:cubicBezTo>
                  <a:cubicBezTo>
                    <a:pt x="0" y="1324"/>
                    <a:pt x="5" y="1329"/>
                    <a:pt x="12" y="1329"/>
                  </a:cubicBezTo>
                  <a:cubicBezTo>
                    <a:pt x="712" y="1329"/>
                    <a:pt x="712" y="1329"/>
                    <a:pt x="712" y="1329"/>
                  </a:cubicBezTo>
                  <a:cubicBezTo>
                    <a:pt x="719" y="1329"/>
                    <a:pt x="724" y="1324"/>
                    <a:pt x="724" y="1318"/>
                  </a:cubicBezTo>
                  <a:cubicBezTo>
                    <a:pt x="724" y="1274"/>
                    <a:pt x="724" y="1274"/>
                    <a:pt x="724" y="1274"/>
                  </a:cubicBezTo>
                  <a:cubicBezTo>
                    <a:pt x="724" y="1268"/>
                    <a:pt x="719" y="1262"/>
                    <a:pt x="712" y="1262"/>
                  </a:cubicBezTo>
                  <a:close/>
                  <a:moveTo>
                    <a:pt x="678" y="335"/>
                  </a:moveTo>
                  <a:cubicBezTo>
                    <a:pt x="639" y="335"/>
                    <a:pt x="639" y="335"/>
                    <a:pt x="639" y="335"/>
                  </a:cubicBezTo>
                  <a:cubicBezTo>
                    <a:pt x="616" y="285"/>
                    <a:pt x="616" y="285"/>
                    <a:pt x="616" y="285"/>
                  </a:cubicBezTo>
                  <a:cubicBezTo>
                    <a:pt x="612" y="277"/>
                    <a:pt x="604" y="272"/>
                    <a:pt x="596" y="272"/>
                  </a:cubicBezTo>
                  <a:cubicBezTo>
                    <a:pt x="128" y="272"/>
                    <a:pt x="128" y="272"/>
                    <a:pt x="128" y="272"/>
                  </a:cubicBezTo>
                  <a:cubicBezTo>
                    <a:pt x="120" y="272"/>
                    <a:pt x="112" y="277"/>
                    <a:pt x="108" y="285"/>
                  </a:cubicBezTo>
                  <a:cubicBezTo>
                    <a:pt x="85" y="335"/>
                    <a:pt x="85" y="335"/>
                    <a:pt x="85" y="335"/>
                  </a:cubicBezTo>
                  <a:cubicBezTo>
                    <a:pt x="46" y="335"/>
                    <a:pt x="46" y="335"/>
                    <a:pt x="46" y="335"/>
                  </a:cubicBezTo>
                  <a:cubicBezTo>
                    <a:pt x="34" y="335"/>
                    <a:pt x="24" y="345"/>
                    <a:pt x="24" y="357"/>
                  </a:cubicBezTo>
                  <a:cubicBezTo>
                    <a:pt x="24" y="419"/>
                    <a:pt x="24" y="419"/>
                    <a:pt x="24" y="419"/>
                  </a:cubicBezTo>
                  <a:cubicBezTo>
                    <a:pt x="24" y="431"/>
                    <a:pt x="34" y="441"/>
                    <a:pt x="46" y="441"/>
                  </a:cubicBezTo>
                  <a:cubicBezTo>
                    <a:pt x="57" y="441"/>
                    <a:pt x="57" y="441"/>
                    <a:pt x="57" y="441"/>
                  </a:cubicBezTo>
                  <a:cubicBezTo>
                    <a:pt x="57" y="1200"/>
                    <a:pt x="57" y="1200"/>
                    <a:pt x="57" y="1200"/>
                  </a:cubicBezTo>
                  <a:cubicBezTo>
                    <a:pt x="101" y="1200"/>
                    <a:pt x="101" y="1200"/>
                    <a:pt x="101" y="1200"/>
                  </a:cubicBezTo>
                  <a:cubicBezTo>
                    <a:pt x="101" y="419"/>
                    <a:pt x="101" y="419"/>
                    <a:pt x="101" y="419"/>
                  </a:cubicBezTo>
                  <a:cubicBezTo>
                    <a:pt x="101" y="407"/>
                    <a:pt x="91" y="397"/>
                    <a:pt x="79" y="397"/>
                  </a:cubicBezTo>
                  <a:cubicBezTo>
                    <a:pt x="68" y="397"/>
                    <a:pt x="68" y="397"/>
                    <a:pt x="68" y="397"/>
                  </a:cubicBezTo>
                  <a:cubicBezTo>
                    <a:pt x="68" y="379"/>
                    <a:pt x="68" y="379"/>
                    <a:pt x="68" y="379"/>
                  </a:cubicBezTo>
                  <a:cubicBezTo>
                    <a:pt x="656" y="379"/>
                    <a:pt x="656" y="379"/>
                    <a:pt x="656" y="379"/>
                  </a:cubicBezTo>
                  <a:cubicBezTo>
                    <a:pt x="656" y="397"/>
                    <a:pt x="656" y="397"/>
                    <a:pt x="656" y="397"/>
                  </a:cubicBezTo>
                  <a:cubicBezTo>
                    <a:pt x="645" y="397"/>
                    <a:pt x="645" y="397"/>
                    <a:pt x="645" y="397"/>
                  </a:cubicBezTo>
                  <a:cubicBezTo>
                    <a:pt x="632" y="397"/>
                    <a:pt x="623" y="407"/>
                    <a:pt x="623" y="419"/>
                  </a:cubicBezTo>
                  <a:cubicBezTo>
                    <a:pt x="623" y="1200"/>
                    <a:pt x="623" y="1200"/>
                    <a:pt x="623" y="1200"/>
                  </a:cubicBezTo>
                  <a:cubicBezTo>
                    <a:pt x="667" y="1200"/>
                    <a:pt x="667" y="1200"/>
                    <a:pt x="667" y="1200"/>
                  </a:cubicBezTo>
                  <a:cubicBezTo>
                    <a:pt x="667" y="441"/>
                    <a:pt x="667" y="441"/>
                    <a:pt x="667" y="441"/>
                  </a:cubicBezTo>
                  <a:cubicBezTo>
                    <a:pt x="678" y="441"/>
                    <a:pt x="678" y="441"/>
                    <a:pt x="678" y="441"/>
                  </a:cubicBezTo>
                  <a:cubicBezTo>
                    <a:pt x="690" y="441"/>
                    <a:pt x="700" y="431"/>
                    <a:pt x="700" y="419"/>
                  </a:cubicBezTo>
                  <a:cubicBezTo>
                    <a:pt x="700" y="357"/>
                    <a:pt x="700" y="357"/>
                    <a:pt x="700" y="357"/>
                  </a:cubicBezTo>
                  <a:cubicBezTo>
                    <a:pt x="700" y="345"/>
                    <a:pt x="690" y="335"/>
                    <a:pt x="678" y="335"/>
                  </a:cubicBezTo>
                  <a:close/>
                  <a:moveTo>
                    <a:pt x="142" y="316"/>
                  </a:moveTo>
                  <a:cubicBezTo>
                    <a:pt x="582" y="316"/>
                    <a:pt x="582" y="316"/>
                    <a:pt x="582" y="316"/>
                  </a:cubicBezTo>
                  <a:cubicBezTo>
                    <a:pt x="591" y="335"/>
                    <a:pt x="591" y="335"/>
                    <a:pt x="591" y="335"/>
                  </a:cubicBezTo>
                  <a:cubicBezTo>
                    <a:pt x="133" y="335"/>
                    <a:pt x="133" y="335"/>
                    <a:pt x="133" y="335"/>
                  </a:cubicBezTo>
                  <a:lnTo>
                    <a:pt x="142" y="316"/>
                  </a:lnTo>
                  <a:close/>
                  <a:moveTo>
                    <a:pt x="1597" y="1200"/>
                  </a:moveTo>
                  <a:cubicBezTo>
                    <a:pt x="1485" y="1200"/>
                    <a:pt x="1485" y="1200"/>
                    <a:pt x="1485" y="1200"/>
                  </a:cubicBezTo>
                  <a:cubicBezTo>
                    <a:pt x="1480" y="1200"/>
                    <a:pt x="1475" y="1195"/>
                    <a:pt x="1475" y="1190"/>
                  </a:cubicBezTo>
                  <a:cubicBezTo>
                    <a:pt x="1475" y="1026"/>
                    <a:pt x="1475" y="1026"/>
                    <a:pt x="1475" y="1026"/>
                  </a:cubicBezTo>
                  <a:cubicBezTo>
                    <a:pt x="1475" y="1021"/>
                    <a:pt x="1480" y="1016"/>
                    <a:pt x="1485" y="1016"/>
                  </a:cubicBezTo>
                  <a:cubicBezTo>
                    <a:pt x="1597" y="1016"/>
                    <a:pt x="1597" y="1016"/>
                    <a:pt x="1597" y="1016"/>
                  </a:cubicBezTo>
                  <a:cubicBezTo>
                    <a:pt x="1603" y="1016"/>
                    <a:pt x="1607" y="1021"/>
                    <a:pt x="1607" y="1026"/>
                  </a:cubicBezTo>
                  <a:cubicBezTo>
                    <a:pt x="1607" y="1190"/>
                    <a:pt x="1607" y="1190"/>
                    <a:pt x="1607" y="1190"/>
                  </a:cubicBezTo>
                  <a:cubicBezTo>
                    <a:pt x="1607" y="1195"/>
                    <a:pt x="1603" y="1200"/>
                    <a:pt x="1597" y="1200"/>
                  </a:cubicBezTo>
                  <a:close/>
                  <a:moveTo>
                    <a:pt x="1751" y="1200"/>
                  </a:moveTo>
                  <a:cubicBezTo>
                    <a:pt x="1639" y="1200"/>
                    <a:pt x="1639" y="1200"/>
                    <a:pt x="1639" y="1200"/>
                  </a:cubicBezTo>
                  <a:cubicBezTo>
                    <a:pt x="1633" y="1200"/>
                    <a:pt x="1629" y="1195"/>
                    <a:pt x="1629" y="1190"/>
                  </a:cubicBezTo>
                  <a:cubicBezTo>
                    <a:pt x="1629" y="1026"/>
                    <a:pt x="1629" y="1026"/>
                    <a:pt x="1629" y="1026"/>
                  </a:cubicBezTo>
                  <a:cubicBezTo>
                    <a:pt x="1629" y="1021"/>
                    <a:pt x="1633" y="1016"/>
                    <a:pt x="1639" y="1016"/>
                  </a:cubicBezTo>
                  <a:cubicBezTo>
                    <a:pt x="1751" y="1016"/>
                    <a:pt x="1751" y="1016"/>
                    <a:pt x="1751" y="1016"/>
                  </a:cubicBezTo>
                  <a:cubicBezTo>
                    <a:pt x="1756" y="1016"/>
                    <a:pt x="1761" y="1021"/>
                    <a:pt x="1761" y="1026"/>
                  </a:cubicBezTo>
                  <a:cubicBezTo>
                    <a:pt x="1761" y="1190"/>
                    <a:pt x="1761" y="1190"/>
                    <a:pt x="1761" y="1190"/>
                  </a:cubicBezTo>
                  <a:cubicBezTo>
                    <a:pt x="1761" y="1195"/>
                    <a:pt x="1756" y="1200"/>
                    <a:pt x="1751" y="1200"/>
                  </a:cubicBezTo>
                  <a:close/>
                  <a:moveTo>
                    <a:pt x="1565" y="564"/>
                  </a:moveTo>
                  <a:cubicBezTo>
                    <a:pt x="1565" y="436"/>
                    <a:pt x="1565" y="436"/>
                    <a:pt x="1565" y="436"/>
                  </a:cubicBezTo>
                  <a:cubicBezTo>
                    <a:pt x="1565" y="430"/>
                    <a:pt x="1569" y="426"/>
                    <a:pt x="1575" y="426"/>
                  </a:cubicBezTo>
                  <a:cubicBezTo>
                    <a:pt x="1661" y="426"/>
                    <a:pt x="1661" y="426"/>
                    <a:pt x="1661" y="426"/>
                  </a:cubicBezTo>
                  <a:cubicBezTo>
                    <a:pt x="1667" y="426"/>
                    <a:pt x="1671" y="430"/>
                    <a:pt x="1671" y="436"/>
                  </a:cubicBezTo>
                  <a:cubicBezTo>
                    <a:pt x="1671" y="564"/>
                    <a:pt x="1671" y="564"/>
                    <a:pt x="1671" y="564"/>
                  </a:cubicBezTo>
                  <a:cubicBezTo>
                    <a:pt x="1671" y="569"/>
                    <a:pt x="1667" y="574"/>
                    <a:pt x="1661" y="574"/>
                  </a:cubicBezTo>
                  <a:cubicBezTo>
                    <a:pt x="1575" y="574"/>
                    <a:pt x="1575" y="574"/>
                    <a:pt x="1575" y="574"/>
                  </a:cubicBezTo>
                  <a:cubicBezTo>
                    <a:pt x="1569" y="574"/>
                    <a:pt x="1565" y="569"/>
                    <a:pt x="1565" y="564"/>
                  </a:cubicBezTo>
                  <a:close/>
                  <a:moveTo>
                    <a:pt x="1565" y="740"/>
                  </a:moveTo>
                  <a:cubicBezTo>
                    <a:pt x="1565" y="613"/>
                    <a:pt x="1565" y="613"/>
                    <a:pt x="1565" y="613"/>
                  </a:cubicBezTo>
                  <a:cubicBezTo>
                    <a:pt x="1565" y="607"/>
                    <a:pt x="1569" y="603"/>
                    <a:pt x="1575" y="603"/>
                  </a:cubicBezTo>
                  <a:cubicBezTo>
                    <a:pt x="1661" y="603"/>
                    <a:pt x="1661" y="603"/>
                    <a:pt x="1661" y="603"/>
                  </a:cubicBezTo>
                  <a:cubicBezTo>
                    <a:pt x="1667" y="603"/>
                    <a:pt x="1671" y="607"/>
                    <a:pt x="1671" y="613"/>
                  </a:cubicBezTo>
                  <a:cubicBezTo>
                    <a:pt x="1671" y="740"/>
                    <a:pt x="1671" y="740"/>
                    <a:pt x="1671" y="740"/>
                  </a:cubicBezTo>
                  <a:cubicBezTo>
                    <a:pt x="1671" y="746"/>
                    <a:pt x="1667" y="750"/>
                    <a:pt x="1661" y="750"/>
                  </a:cubicBezTo>
                  <a:cubicBezTo>
                    <a:pt x="1575" y="750"/>
                    <a:pt x="1575" y="750"/>
                    <a:pt x="1575" y="750"/>
                  </a:cubicBezTo>
                  <a:cubicBezTo>
                    <a:pt x="1569" y="750"/>
                    <a:pt x="1565" y="746"/>
                    <a:pt x="1565" y="740"/>
                  </a:cubicBezTo>
                  <a:close/>
                  <a:moveTo>
                    <a:pt x="1421" y="564"/>
                  </a:moveTo>
                  <a:cubicBezTo>
                    <a:pt x="1421" y="436"/>
                    <a:pt x="1421" y="436"/>
                    <a:pt x="1421" y="436"/>
                  </a:cubicBezTo>
                  <a:cubicBezTo>
                    <a:pt x="1421" y="430"/>
                    <a:pt x="1425" y="426"/>
                    <a:pt x="1431" y="426"/>
                  </a:cubicBezTo>
                  <a:cubicBezTo>
                    <a:pt x="1517" y="426"/>
                    <a:pt x="1517" y="426"/>
                    <a:pt x="1517" y="426"/>
                  </a:cubicBezTo>
                  <a:cubicBezTo>
                    <a:pt x="1523" y="426"/>
                    <a:pt x="1527" y="430"/>
                    <a:pt x="1527" y="436"/>
                  </a:cubicBezTo>
                  <a:cubicBezTo>
                    <a:pt x="1527" y="564"/>
                    <a:pt x="1527" y="564"/>
                    <a:pt x="1527" y="564"/>
                  </a:cubicBezTo>
                  <a:cubicBezTo>
                    <a:pt x="1527" y="569"/>
                    <a:pt x="1523" y="574"/>
                    <a:pt x="1517" y="574"/>
                  </a:cubicBezTo>
                  <a:cubicBezTo>
                    <a:pt x="1431" y="574"/>
                    <a:pt x="1431" y="574"/>
                    <a:pt x="1431" y="574"/>
                  </a:cubicBezTo>
                  <a:cubicBezTo>
                    <a:pt x="1425" y="574"/>
                    <a:pt x="1421" y="569"/>
                    <a:pt x="1421" y="564"/>
                  </a:cubicBezTo>
                  <a:close/>
                  <a:moveTo>
                    <a:pt x="1421" y="740"/>
                  </a:moveTo>
                  <a:cubicBezTo>
                    <a:pt x="1421" y="613"/>
                    <a:pt x="1421" y="613"/>
                    <a:pt x="1421" y="613"/>
                  </a:cubicBezTo>
                  <a:cubicBezTo>
                    <a:pt x="1421" y="607"/>
                    <a:pt x="1425" y="603"/>
                    <a:pt x="1431" y="603"/>
                  </a:cubicBezTo>
                  <a:cubicBezTo>
                    <a:pt x="1517" y="603"/>
                    <a:pt x="1517" y="603"/>
                    <a:pt x="1517" y="603"/>
                  </a:cubicBezTo>
                  <a:cubicBezTo>
                    <a:pt x="1523" y="603"/>
                    <a:pt x="1527" y="607"/>
                    <a:pt x="1527" y="613"/>
                  </a:cubicBezTo>
                  <a:cubicBezTo>
                    <a:pt x="1527" y="740"/>
                    <a:pt x="1527" y="740"/>
                    <a:pt x="1527" y="740"/>
                  </a:cubicBezTo>
                  <a:cubicBezTo>
                    <a:pt x="1527" y="746"/>
                    <a:pt x="1523" y="750"/>
                    <a:pt x="1517" y="750"/>
                  </a:cubicBezTo>
                  <a:cubicBezTo>
                    <a:pt x="1431" y="750"/>
                    <a:pt x="1431" y="750"/>
                    <a:pt x="1431" y="750"/>
                  </a:cubicBezTo>
                  <a:cubicBezTo>
                    <a:pt x="1425" y="750"/>
                    <a:pt x="1421" y="746"/>
                    <a:pt x="1421" y="740"/>
                  </a:cubicBezTo>
                  <a:close/>
                  <a:moveTo>
                    <a:pt x="1709" y="564"/>
                  </a:moveTo>
                  <a:cubicBezTo>
                    <a:pt x="1709" y="436"/>
                    <a:pt x="1709" y="436"/>
                    <a:pt x="1709" y="436"/>
                  </a:cubicBezTo>
                  <a:cubicBezTo>
                    <a:pt x="1709" y="430"/>
                    <a:pt x="1713" y="426"/>
                    <a:pt x="1719" y="426"/>
                  </a:cubicBezTo>
                  <a:cubicBezTo>
                    <a:pt x="1805" y="426"/>
                    <a:pt x="1805" y="426"/>
                    <a:pt x="1805" y="426"/>
                  </a:cubicBezTo>
                  <a:cubicBezTo>
                    <a:pt x="1811" y="426"/>
                    <a:pt x="1815" y="430"/>
                    <a:pt x="1815" y="436"/>
                  </a:cubicBezTo>
                  <a:cubicBezTo>
                    <a:pt x="1815" y="564"/>
                    <a:pt x="1815" y="564"/>
                    <a:pt x="1815" y="564"/>
                  </a:cubicBezTo>
                  <a:cubicBezTo>
                    <a:pt x="1815" y="569"/>
                    <a:pt x="1811" y="574"/>
                    <a:pt x="1805" y="574"/>
                  </a:cubicBezTo>
                  <a:cubicBezTo>
                    <a:pt x="1719" y="574"/>
                    <a:pt x="1719" y="574"/>
                    <a:pt x="1719" y="574"/>
                  </a:cubicBezTo>
                  <a:cubicBezTo>
                    <a:pt x="1713" y="574"/>
                    <a:pt x="1709" y="569"/>
                    <a:pt x="1709" y="564"/>
                  </a:cubicBezTo>
                  <a:close/>
                  <a:moveTo>
                    <a:pt x="1709" y="740"/>
                  </a:moveTo>
                  <a:cubicBezTo>
                    <a:pt x="1709" y="613"/>
                    <a:pt x="1709" y="613"/>
                    <a:pt x="1709" y="613"/>
                  </a:cubicBezTo>
                  <a:cubicBezTo>
                    <a:pt x="1709" y="607"/>
                    <a:pt x="1713" y="603"/>
                    <a:pt x="1719" y="603"/>
                  </a:cubicBezTo>
                  <a:cubicBezTo>
                    <a:pt x="1805" y="603"/>
                    <a:pt x="1805" y="603"/>
                    <a:pt x="1805" y="603"/>
                  </a:cubicBezTo>
                  <a:cubicBezTo>
                    <a:pt x="1811" y="603"/>
                    <a:pt x="1815" y="607"/>
                    <a:pt x="1815" y="613"/>
                  </a:cubicBezTo>
                  <a:cubicBezTo>
                    <a:pt x="1815" y="740"/>
                    <a:pt x="1815" y="740"/>
                    <a:pt x="1815" y="740"/>
                  </a:cubicBezTo>
                  <a:cubicBezTo>
                    <a:pt x="1815" y="746"/>
                    <a:pt x="1811" y="750"/>
                    <a:pt x="1805" y="750"/>
                  </a:cubicBezTo>
                  <a:cubicBezTo>
                    <a:pt x="1719" y="750"/>
                    <a:pt x="1719" y="750"/>
                    <a:pt x="1719" y="750"/>
                  </a:cubicBezTo>
                  <a:cubicBezTo>
                    <a:pt x="1713" y="750"/>
                    <a:pt x="1709" y="746"/>
                    <a:pt x="1709" y="740"/>
                  </a:cubicBezTo>
                  <a:close/>
                  <a:moveTo>
                    <a:pt x="1565" y="917"/>
                  </a:moveTo>
                  <a:cubicBezTo>
                    <a:pt x="1565" y="789"/>
                    <a:pt x="1565" y="789"/>
                    <a:pt x="1565" y="789"/>
                  </a:cubicBezTo>
                  <a:cubicBezTo>
                    <a:pt x="1565" y="784"/>
                    <a:pt x="1569" y="779"/>
                    <a:pt x="1575" y="779"/>
                  </a:cubicBezTo>
                  <a:cubicBezTo>
                    <a:pt x="1661" y="779"/>
                    <a:pt x="1661" y="779"/>
                    <a:pt x="1661" y="779"/>
                  </a:cubicBezTo>
                  <a:cubicBezTo>
                    <a:pt x="1667" y="779"/>
                    <a:pt x="1671" y="784"/>
                    <a:pt x="1671" y="789"/>
                  </a:cubicBezTo>
                  <a:cubicBezTo>
                    <a:pt x="1671" y="917"/>
                    <a:pt x="1671" y="917"/>
                    <a:pt x="1671" y="917"/>
                  </a:cubicBezTo>
                  <a:cubicBezTo>
                    <a:pt x="1671" y="923"/>
                    <a:pt x="1667" y="927"/>
                    <a:pt x="1661" y="927"/>
                  </a:cubicBezTo>
                  <a:cubicBezTo>
                    <a:pt x="1575" y="927"/>
                    <a:pt x="1575" y="927"/>
                    <a:pt x="1575" y="927"/>
                  </a:cubicBezTo>
                  <a:cubicBezTo>
                    <a:pt x="1569" y="927"/>
                    <a:pt x="1565" y="923"/>
                    <a:pt x="1565" y="917"/>
                  </a:cubicBezTo>
                  <a:close/>
                  <a:moveTo>
                    <a:pt x="1421" y="917"/>
                  </a:moveTo>
                  <a:cubicBezTo>
                    <a:pt x="1421" y="789"/>
                    <a:pt x="1421" y="789"/>
                    <a:pt x="1421" y="789"/>
                  </a:cubicBezTo>
                  <a:cubicBezTo>
                    <a:pt x="1421" y="784"/>
                    <a:pt x="1425" y="779"/>
                    <a:pt x="1431" y="779"/>
                  </a:cubicBezTo>
                  <a:cubicBezTo>
                    <a:pt x="1517" y="779"/>
                    <a:pt x="1517" y="779"/>
                    <a:pt x="1517" y="779"/>
                  </a:cubicBezTo>
                  <a:cubicBezTo>
                    <a:pt x="1523" y="779"/>
                    <a:pt x="1527" y="784"/>
                    <a:pt x="1527" y="789"/>
                  </a:cubicBezTo>
                  <a:cubicBezTo>
                    <a:pt x="1527" y="917"/>
                    <a:pt x="1527" y="917"/>
                    <a:pt x="1527" y="917"/>
                  </a:cubicBezTo>
                  <a:cubicBezTo>
                    <a:pt x="1527" y="923"/>
                    <a:pt x="1523" y="927"/>
                    <a:pt x="1517" y="927"/>
                  </a:cubicBezTo>
                  <a:cubicBezTo>
                    <a:pt x="1431" y="927"/>
                    <a:pt x="1431" y="927"/>
                    <a:pt x="1431" y="927"/>
                  </a:cubicBezTo>
                  <a:cubicBezTo>
                    <a:pt x="1425" y="927"/>
                    <a:pt x="1421" y="923"/>
                    <a:pt x="1421" y="917"/>
                  </a:cubicBezTo>
                  <a:close/>
                  <a:moveTo>
                    <a:pt x="1709" y="917"/>
                  </a:moveTo>
                  <a:cubicBezTo>
                    <a:pt x="1709" y="789"/>
                    <a:pt x="1709" y="789"/>
                    <a:pt x="1709" y="789"/>
                  </a:cubicBezTo>
                  <a:cubicBezTo>
                    <a:pt x="1709" y="784"/>
                    <a:pt x="1713" y="779"/>
                    <a:pt x="1719" y="779"/>
                  </a:cubicBezTo>
                  <a:cubicBezTo>
                    <a:pt x="1805" y="779"/>
                    <a:pt x="1805" y="779"/>
                    <a:pt x="1805" y="779"/>
                  </a:cubicBezTo>
                  <a:cubicBezTo>
                    <a:pt x="1811" y="779"/>
                    <a:pt x="1815" y="784"/>
                    <a:pt x="1815" y="789"/>
                  </a:cubicBezTo>
                  <a:cubicBezTo>
                    <a:pt x="1815" y="917"/>
                    <a:pt x="1815" y="917"/>
                    <a:pt x="1815" y="917"/>
                  </a:cubicBezTo>
                  <a:cubicBezTo>
                    <a:pt x="1815" y="923"/>
                    <a:pt x="1811" y="927"/>
                    <a:pt x="1805" y="927"/>
                  </a:cubicBezTo>
                  <a:cubicBezTo>
                    <a:pt x="1719" y="927"/>
                    <a:pt x="1719" y="927"/>
                    <a:pt x="1719" y="927"/>
                  </a:cubicBezTo>
                  <a:cubicBezTo>
                    <a:pt x="1713" y="927"/>
                    <a:pt x="1709" y="923"/>
                    <a:pt x="1709" y="917"/>
                  </a:cubicBezTo>
                  <a:close/>
                  <a:moveTo>
                    <a:pt x="1494" y="197"/>
                  </a:moveTo>
                  <a:cubicBezTo>
                    <a:pt x="1494" y="197"/>
                    <a:pt x="1494" y="197"/>
                    <a:pt x="1493" y="197"/>
                  </a:cubicBezTo>
                  <a:cubicBezTo>
                    <a:pt x="1493" y="198"/>
                    <a:pt x="1493" y="199"/>
                    <a:pt x="1492" y="200"/>
                  </a:cubicBezTo>
                  <a:cubicBezTo>
                    <a:pt x="1492" y="200"/>
                    <a:pt x="1492" y="201"/>
                    <a:pt x="1491" y="201"/>
                  </a:cubicBezTo>
                  <a:cubicBezTo>
                    <a:pt x="1491" y="201"/>
                    <a:pt x="1491" y="201"/>
                    <a:pt x="1491" y="201"/>
                  </a:cubicBezTo>
                  <a:cubicBezTo>
                    <a:pt x="1491" y="201"/>
                    <a:pt x="1491" y="201"/>
                    <a:pt x="1491" y="201"/>
                  </a:cubicBezTo>
                  <a:cubicBezTo>
                    <a:pt x="1490" y="202"/>
                    <a:pt x="1489" y="203"/>
                    <a:pt x="1488" y="204"/>
                  </a:cubicBezTo>
                  <a:cubicBezTo>
                    <a:pt x="1488" y="204"/>
                    <a:pt x="1488" y="204"/>
                    <a:pt x="1488" y="204"/>
                  </a:cubicBezTo>
                  <a:cubicBezTo>
                    <a:pt x="1487" y="205"/>
                    <a:pt x="1486" y="206"/>
                    <a:pt x="1485" y="207"/>
                  </a:cubicBezTo>
                  <a:cubicBezTo>
                    <a:pt x="1485" y="207"/>
                    <a:pt x="1485" y="207"/>
                    <a:pt x="1485" y="207"/>
                  </a:cubicBezTo>
                  <a:cubicBezTo>
                    <a:pt x="1483" y="207"/>
                    <a:pt x="1482" y="208"/>
                    <a:pt x="1481" y="208"/>
                  </a:cubicBezTo>
                  <a:cubicBezTo>
                    <a:pt x="1481" y="208"/>
                    <a:pt x="1481" y="209"/>
                    <a:pt x="1481" y="209"/>
                  </a:cubicBezTo>
                  <a:cubicBezTo>
                    <a:pt x="1479" y="209"/>
                    <a:pt x="1478" y="209"/>
                    <a:pt x="1477" y="209"/>
                  </a:cubicBezTo>
                  <a:cubicBezTo>
                    <a:pt x="1477" y="209"/>
                    <a:pt x="1477" y="209"/>
                    <a:pt x="1476" y="209"/>
                  </a:cubicBezTo>
                  <a:cubicBezTo>
                    <a:pt x="1476" y="210"/>
                    <a:pt x="1475" y="210"/>
                    <a:pt x="1475" y="210"/>
                  </a:cubicBezTo>
                  <a:cubicBezTo>
                    <a:pt x="1380" y="213"/>
                    <a:pt x="1380" y="213"/>
                    <a:pt x="1380" y="213"/>
                  </a:cubicBezTo>
                  <a:cubicBezTo>
                    <a:pt x="1379" y="213"/>
                    <a:pt x="1379" y="213"/>
                    <a:pt x="1379" y="213"/>
                  </a:cubicBezTo>
                  <a:cubicBezTo>
                    <a:pt x="1367" y="213"/>
                    <a:pt x="1357" y="204"/>
                    <a:pt x="1357" y="192"/>
                  </a:cubicBezTo>
                  <a:cubicBezTo>
                    <a:pt x="1356" y="180"/>
                    <a:pt x="1366" y="170"/>
                    <a:pt x="1378" y="169"/>
                  </a:cubicBezTo>
                  <a:cubicBezTo>
                    <a:pt x="1409" y="168"/>
                    <a:pt x="1409" y="168"/>
                    <a:pt x="1409" y="168"/>
                  </a:cubicBezTo>
                  <a:cubicBezTo>
                    <a:pt x="1284" y="87"/>
                    <a:pt x="1141" y="44"/>
                    <a:pt x="990" y="44"/>
                  </a:cubicBezTo>
                  <a:cubicBezTo>
                    <a:pt x="818" y="44"/>
                    <a:pt x="655" y="100"/>
                    <a:pt x="520" y="205"/>
                  </a:cubicBezTo>
                  <a:cubicBezTo>
                    <a:pt x="516" y="208"/>
                    <a:pt x="511" y="210"/>
                    <a:pt x="506" y="210"/>
                  </a:cubicBezTo>
                  <a:cubicBezTo>
                    <a:pt x="500" y="210"/>
                    <a:pt x="493" y="207"/>
                    <a:pt x="489" y="201"/>
                  </a:cubicBezTo>
                  <a:cubicBezTo>
                    <a:pt x="481" y="192"/>
                    <a:pt x="483" y="178"/>
                    <a:pt x="493" y="170"/>
                  </a:cubicBezTo>
                  <a:cubicBezTo>
                    <a:pt x="636" y="59"/>
                    <a:pt x="808" y="0"/>
                    <a:pt x="990" y="0"/>
                  </a:cubicBezTo>
                  <a:cubicBezTo>
                    <a:pt x="1149" y="0"/>
                    <a:pt x="1300" y="45"/>
                    <a:pt x="1431" y="130"/>
                  </a:cubicBezTo>
                  <a:cubicBezTo>
                    <a:pt x="1423" y="104"/>
                    <a:pt x="1423" y="104"/>
                    <a:pt x="1423" y="104"/>
                  </a:cubicBezTo>
                  <a:cubicBezTo>
                    <a:pt x="1419" y="93"/>
                    <a:pt x="1425" y="80"/>
                    <a:pt x="1436" y="77"/>
                  </a:cubicBezTo>
                  <a:cubicBezTo>
                    <a:pt x="1448" y="73"/>
                    <a:pt x="1460" y="79"/>
                    <a:pt x="1464" y="90"/>
                  </a:cubicBezTo>
                  <a:cubicBezTo>
                    <a:pt x="1495" y="181"/>
                    <a:pt x="1495" y="181"/>
                    <a:pt x="1495" y="181"/>
                  </a:cubicBezTo>
                  <a:cubicBezTo>
                    <a:pt x="1495" y="181"/>
                    <a:pt x="1495" y="181"/>
                    <a:pt x="1495" y="181"/>
                  </a:cubicBezTo>
                  <a:cubicBezTo>
                    <a:pt x="1495" y="181"/>
                    <a:pt x="1495" y="181"/>
                    <a:pt x="1495" y="181"/>
                  </a:cubicBezTo>
                  <a:cubicBezTo>
                    <a:pt x="1495" y="182"/>
                    <a:pt x="1495" y="183"/>
                    <a:pt x="1496" y="184"/>
                  </a:cubicBezTo>
                  <a:cubicBezTo>
                    <a:pt x="1496" y="185"/>
                    <a:pt x="1496" y="185"/>
                    <a:pt x="1496" y="185"/>
                  </a:cubicBezTo>
                  <a:cubicBezTo>
                    <a:pt x="1496" y="186"/>
                    <a:pt x="1496" y="188"/>
                    <a:pt x="1496" y="189"/>
                  </a:cubicBezTo>
                  <a:cubicBezTo>
                    <a:pt x="1496" y="189"/>
                    <a:pt x="1496" y="189"/>
                    <a:pt x="1496" y="189"/>
                  </a:cubicBezTo>
                  <a:cubicBezTo>
                    <a:pt x="1496" y="191"/>
                    <a:pt x="1495" y="192"/>
                    <a:pt x="1495" y="193"/>
                  </a:cubicBezTo>
                  <a:cubicBezTo>
                    <a:pt x="1495" y="193"/>
                    <a:pt x="1495" y="193"/>
                    <a:pt x="1495" y="193"/>
                  </a:cubicBezTo>
                  <a:cubicBezTo>
                    <a:pt x="1495" y="195"/>
                    <a:pt x="1494" y="196"/>
                    <a:pt x="149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sp>
          <p:nvSpPr>
            <p:cNvPr id="61" name="Freeform 11">
              <a:extLst>
                <a:ext uri="{FF2B5EF4-FFF2-40B4-BE49-F238E27FC236}">
                  <a16:creationId xmlns:a16="http://schemas.microsoft.com/office/drawing/2014/main" id="{E0FAEE4C-B755-4F49-962A-B03A4B5BB242}"/>
                </a:ext>
              </a:extLst>
            </p:cNvPr>
            <p:cNvSpPr>
              <a:spLocks noEditPoints="1"/>
            </p:cNvSpPr>
            <p:nvPr/>
          </p:nvSpPr>
          <p:spPr bwMode="auto">
            <a:xfrm>
              <a:off x="2296" y="1148"/>
              <a:ext cx="3400" cy="2538"/>
            </a:xfrm>
            <a:custGeom>
              <a:avLst/>
              <a:gdLst>
                <a:gd name="T0" fmla="*/ 54 w 1815"/>
                <a:gd name="T1" fmla="*/ 918 h 1354"/>
                <a:gd name="T2" fmla="*/ 176 w 1815"/>
                <a:gd name="T3" fmla="*/ 744 h 1354"/>
                <a:gd name="T4" fmla="*/ 176 w 1815"/>
                <a:gd name="T5" fmla="*/ 928 h 1354"/>
                <a:gd name="T6" fmla="*/ 330 w 1815"/>
                <a:gd name="T7" fmla="*/ 744 h 1354"/>
                <a:gd name="T8" fmla="*/ 208 w 1815"/>
                <a:gd name="T9" fmla="*/ 918 h 1354"/>
                <a:gd name="T10" fmla="*/ 340 w 1815"/>
                <a:gd name="T11" fmla="*/ 918 h 1354"/>
                <a:gd name="T12" fmla="*/ 250 w 1815"/>
                <a:gd name="T13" fmla="*/ 292 h 1354"/>
                <a:gd name="T14" fmla="*/ 154 w 1815"/>
                <a:gd name="T15" fmla="*/ 154 h 1354"/>
                <a:gd name="T16" fmla="*/ 154 w 1815"/>
                <a:gd name="T17" fmla="*/ 302 h 1354"/>
                <a:gd name="T18" fmla="*/ 250 w 1815"/>
                <a:gd name="T19" fmla="*/ 468 h 1354"/>
                <a:gd name="T20" fmla="*/ 154 w 1815"/>
                <a:gd name="T21" fmla="*/ 331 h 1354"/>
                <a:gd name="T22" fmla="*/ 154 w 1815"/>
                <a:gd name="T23" fmla="*/ 478 h 1354"/>
                <a:gd name="T24" fmla="*/ 106 w 1815"/>
                <a:gd name="T25" fmla="*/ 292 h 1354"/>
                <a:gd name="T26" fmla="*/ 10 w 1815"/>
                <a:gd name="T27" fmla="*/ 154 h 1354"/>
                <a:gd name="T28" fmla="*/ 10 w 1815"/>
                <a:gd name="T29" fmla="*/ 302 h 1354"/>
                <a:gd name="T30" fmla="*/ 106 w 1815"/>
                <a:gd name="T31" fmla="*/ 468 h 1354"/>
                <a:gd name="T32" fmla="*/ 10 w 1815"/>
                <a:gd name="T33" fmla="*/ 331 h 1354"/>
                <a:gd name="T34" fmla="*/ 10 w 1815"/>
                <a:gd name="T35" fmla="*/ 478 h 1354"/>
                <a:gd name="T36" fmla="*/ 394 w 1815"/>
                <a:gd name="T37" fmla="*/ 292 h 1354"/>
                <a:gd name="T38" fmla="*/ 298 w 1815"/>
                <a:gd name="T39" fmla="*/ 154 h 1354"/>
                <a:gd name="T40" fmla="*/ 298 w 1815"/>
                <a:gd name="T41" fmla="*/ 302 h 1354"/>
                <a:gd name="T42" fmla="*/ 394 w 1815"/>
                <a:gd name="T43" fmla="*/ 468 h 1354"/>
                <a:gd name="T44" fmla="*/ 298 w 1815"/>
                <a:gd name="T45" fmla="*/ 331 h 1354"/>
                <a:gd name="T46" fmla="*/ 298 w 1815"/>
                <a:gd name="T47" fmla="*/ 478 h 1354"/>
                <a:gd name="T48" fmla="*/ 250 w 1815"/>
                <a:gd name="T49" fmla="*/ 645 h 1354"/>
                <a:gd name="T50" fmla="*/ 154 w 1815"/>
                <a:gd name="T51" fmla="*/ 507 h 1354"/>
                <a:gd name="T52" fmla="*/ 154 w 1815"/>
                <a:gd name="T53" fmla="*/ 655 h 1354"/>
                <a:gd name="T54" fmla="*/ 106 w 1815"/>
                <a:gd name="T55" fmla="*/ 645 h 1354"/>
                <a:gd name="T56" fmla="*/ 10 w 1815"/>
                <a:gd name="T57" fmla="*/ 507 h 1354"/>
                <a:gd name="T58" fmla="*/ 10 w 1815"/>
                <a:gd name="T59" fmla="*/ 655 h 1354"/>
                <a:gd name="T60" fmla="*/ 394 w 1815"/>
                <a:gd name="T61" fmla="*/ 645 h 1354"/>
                <a:gd name="T62" fmla="*/ 298 w 1815"/>
                <a:gd name="T63" fmla="*/ 507 h 1354"/>
                <a:gd name="T64" fmla="*/ 298 w 1815"/>
                <a:gd name="T65" fmla="*/ 655 h 1354"/>
                <a:gd name="T66" fmla="*/ 1803 w 1815"/>
                <a:gd name="T67" fmla="*/ 1057 h 1354"/>
                <a:gd name="T68" fmla="*/ 1091 w 1815"/>
                <a:gd name="T69" fmla="*/ 1002 h 1354"/>
                <a:gd name="T70" fmla="*/ 1137 w 1815"/>
                <a:gd name="T71" fmla="*/ 975 h 1354"/>
                <a:gd name="T72" fmla="*/ 1769 w 1815"/>
                <a:gd name="T73" fmla="*/ 975 h 1354"/>
                <a:gd name="T74" fmla="*/ 1815 w 1815"/>
                <a:gd name="T75" fmla="*/ 1002 h 1354"/>
                <a:gd name="T76" fmla="*/ 1769 w 1815"/>
                <a:gd name="T77" fmla="*/ 169 h 1354"/>
                <a:gd name="T78" fmla="*/ 1714 w 1815"/>
                <a:gd name="T79" fmla="*/ 928 h 1354"/>
                <a:gd name="T80" fmla="*/ 1747 w 1815"/>
                <a:gd name="T81" fmla="*/ 125 h 1354"/>
                <a:gd name="T82" fmla="*/ 1159 w 1815"/>
                <a:gd name="T83" fmla="*/ 125 h 1354"/>
                <a:gd name="T84" fmla="*/ 1192 w 1815"/>
                <a:gd name="T85" fmla="*/ 928 h 1354"/>
                <a:gd name="T86" fmla="*/ 1137 w 1815"/>
                <a:gd name="T87" fmla="*/ 169 h 1354"/>
                <a:gd name="T88" fmla="*/ 1137 w 1815"/>
                <a:gd name="T89" fmla="*/ 63 h 1354"/>
                <a:gd name="T90" fmla="*/ 1219 w 1815"/>
                <a:gd name="T91" fmla="*/ 0 h 1354"/>
                <a:gd name="T92" fmla="*/ 1730 w 1815"/>
                <a:gd name="T93" fmla="*/ 63 h 1354"/>
                <a:gd name="T94" fmla="*/ 1224 w 1815"/>
                <a:gd name="T95" fmla="*/ 63 h 1354"/>
                <a:gd name="T96" fmla="*/ 1233 w 1815"/>
                <a:gd name="T97" fmla="*/ 44 h 1354"/>
                <a:gd name="T98" fmla="*/ 1295 w 1815"/>
                <a:gd name="T99" fmla="*/ 1149 h 1354"/>
                <a:gd name="T100" fmla="*/ 437 w 1815"/>
                <a:gd name="T101" fmla="*/ 1185 h 1354"/>
                <a:gd name="T102" fmla="*/ 340 w 1815"/>
                <a:gd name="T103" fmla="*/ 1144 h 1354"/>
                <a:gd name="T104" fmla="*/ 334 w 1815"/>
                <a:gd name="T105" fmla="*/ 1145 h 1354"/>
                <a:gd name="T106" fmla="*/ 330 w 1815"/>
                <a:gd name="T107" fmla="*/ 1147 h 1354"/>
                <a:gd name="T108" fmla="*/ 324 w 1815"/>
                <a:gd name="T109" fmla="*/ 1153 h 1354"/>
                <a:gd name="T110" fmla="*/ 323 w 1815"/>
                <a:gd name="T111" fmla="*/ 1154 h 1354"/>
                <a:gd name="T112" fmla="*/ 320 w 1815"/>
                <a:gd name="T113" fmla="*/ 1161 h 1354"/>
                <a:gd name="T114" fmla="*/ 319 w 1815"/>
                <a:gd name="T115" fmla="*/ 1165 h 1354"/>
                <a:gd name="T116" fmla="*/ 320 w 1815"/>
                <a:gd name="T117" fmla="*/ 1173 h 1354"/>
                <a:gd name="T118" fmla="*/ 351 w 1815"/>
                <a:gd name="T119" fmla="*/ 1264 h 1354"/>
                <a:gd name="T120" fmla="*/ 392 w 1815"/>
                <a:gd name="T121" fmla="*/ 1250 h 1354"/>
                <a:gd name="T122" fmla="*/ 1322 w 1815"/>
                <a:gd name="T123" fmla="*/ 11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5" h="1354">
                  <a:moveTo>
                    <a:pt x="176" y="928"/>
                  </a:moveTo>
                  <a:cubicBezTo>
                    <a:pt x="64" y="928"/>
                    <a:pt x="64" y="928"/>
                    <a:pt x="64" y="928"/>
                  </a:cubicBezTo>
                  <a:cubicBezTo>
                    <a:pt x="59" y="928"/>
                    <a:pt x="54" y="923"/>
                    <a:pt x="54" y="918"/>
                  </a:cubicBezTo>
                  <a:cubicBezTo>
                    <a:pt x="54" y="754"/>
                    <a:pt x="54" y="754"/>
                    <a:pt x="54" y="754"/>
                  </a:cubicBezTo>
                  <a:cubicBezTo>
                    <a:pt x="54" y="749"/>
                    <a:pt x="59" y="744"/>
                    <a:pt x="64" y="744"/>
                  </a:cubicBezTo>
                  <a:cubicBezTo>
                    <a:pt x="176" y="744"/>
                    <a:pt x="176" y="744"/>
                    <a:pt x="176" y="744"/>
                  </a:cubicBezTo>
                  <a:cubicBezTo>
                    <a:pt x="182" y="744"/>
                    <a:pt x="186" y="749"/>
                    <a:pt x="186" y="754"/>
                  </a:cubicBezTo>
                  <a:cubicBezTo>
                    <a:pt x="186" y="918"/>
                    <a:pt x="186" y="918"/>
                    <a:pt x="186" y="918"/>
                  </a:cubicBezTo>
                  <a:cubicBezTo>
                    <a:pt x="186" y="923"/>
                    <a:pt x="182" y="928"/>
                    <a:pt x="176" y="928"/>
                  </a:cubicBezTo>
                  <a:close/>
                  <a:moveTo>
                    <a:pt x="340" y="918"/>
                  </a:moveTo>
                  <a:cubicBezTo>
                    <a:pt x="340" y="754"/>
                    <a:pt x="340" y="754"/>
                    <a:pt x="340" y="754"/>
                  </a:cubicBezTo>
                  <a:cubicBezTo>
                    <a:pt x="340" y="749"/>
                    <a:pt x="335" y="744"/>
                    <a:pt x="330" y="744"/>
                  </a:cubicBezTo>
                  <a:cubicBezTo>
                    <a:pt x="218" y="744"/>
                    <a:pt x="218" y="744"/>
                    <a:pt x="218" y="744"/>
                  </a:cubicBezTo>
                  <a:cubicBezTo>
                    <a:pt x="212" y="744"/>
                    <a:pt x="208" y="749"/>
                    <a:pt x="208" y="754"/>
                  </a:cubicBezTo>
                  <a:cubicBezTo>
                    <a:pt x="208" y="918"/>
                    <a:pt x="208" y="918"/>
                    <a:pt x="208" y="918"/>
                  </a:cubicBezTo>
                  <a:cubicBezTo>
                    <a:pt x="208" y="923"/>
                    <a:pt x="212" y="928"/>
                    <a:pt x="218" y="928"/>
                  </a:cubicBezTo>
                  <a:cubicBezTo>
                    <a:pt x="330" y="928"/>
                    <a:pt x="330" y="928"/>
                    <a:pt x="330" y="928"/>
                  </a:cubicBezTo>
                  <a:cubicBezTo>
                    <a:pt x="335" y="928"/>
                    <a:pt x="340" y="923"/>
                    <a:pt x="340" y="918"/>
                  </a:cubicBezTo>
                  <a:close/>
                  <a:moveTo>
                    <a:pt x="154" y="302"/>
                  </a:moveTo>
                  <a:cubicBezTo>
                    <a:pt x="240" y="302"/>
                    <a:pt x="240" y="302"/>
                    <a:pt x="240" y="302"/>
                  </a:cubicBezTo>
                  <a:cubicBezTo>
                    <a:pt x="246" y="302"/>
                    <a:pt x="250" y="297"/>
                    <a:pt x="250" y="292"/>
                  </a:cubicBezTo>
                  <a:cubicBezTo>
                    <a:pt x="250" y="164"/>
                    <a:pt x="250" y="164"/>
                    <a:pt x="250" y="164"/>
                  </a:cubicBezTo>
                  <a:cubicBezTo>
                    <a:pt x="250" y="158"/>
                    <a:pt x="246" y="154"/>
                    <a:pt x="240" y="154"/>
                  </a:cubicBezTo>
                  <a:cubicBezTo>
                    <a:pt x="154" y="154"/>
                    <a:pt x="154" y="154"/>
                    <a:pt x="154" y="154"/>
                  </a:cubicBezTo>
                  <a:cubicBezTo>
                    <a:pt x="148" y="154"/>
                    <a:pt x="144" y="158"/>
                    <a:pt x="144" y="164"/>
                  </a:cubicBezTo>
                  <a:cubicBezTo>
                    <a:pt x="144" y="292"/>
                    <a:pt x="144" y="292"/>
                    <a:pt x="144" y="292"/>
                  </a:cubicBezTo>
                  <a:cubicBezTo>
                    <a:pt x="144" y="297"/>
                    <a:pt x="148" y="302"/>
                    <a:pt x="154" y="302"/>
                  </a:cubicBezTo>
                  <a:close/>
                  <a:moveTo>
                    <a:pt x="154" y="478"/>
                  </a:moveTo>
                  <a:cubicBezTo>
                    <a:pt x="240" y="478"/>
                    <a:pt x="240" y="478"/>
                    <a:pt x="240" y="478"/>
                  </a:cubicBezTo>
                  <a:cubicBezTo>
                    <a:pt x="246" y="478"/>
                    <a:pt x="250" y="474"/>
                    <a:pt x="250" y="468"/>
                  </a:cubicBezTo>
                  <a:cubicBezTo>
                    <a:pt x="250" y="341"/>
                    <a:pt x="250" y="341"/>
                    <a:pt x="250" y="341"/>
                  </a:cubicBezTo>
                  <a:cubicBezTo>
                    <a:pt x="250" y="335"/>
                    <a:pt x="246" y="331"/>
                    <a:pt x="240" y="331"/>
                  </a:cubicBezTo>
                  <a:cubicBezTo>
                    <a:pt x="154" y="331"/>
                    <a:pt x="154" y="331"/>
                    <a:pt x="154" y="331"/>
                  </a:cubicBezTo>
                  <a:cubicBezTo>
                    <a:pt x="148" y="331"/>
                    <a:pt x="144" y="335"/>
                    <a:pt x="144" y="341"/>
                  </a:cubicBezTo>
                  <a:cubicBezTo>
                    <a:pt x="144" y="468"/>
                    <a:pt x="144" y="468"/>
                    <a:pt x="144" y="468"/>
                  </a:cubicBezTo>
                  <a:cubicBezTo>
                    <a:pt x="144" y="474"/>
                    <a:pt x="148" y="478"/>
                    <a:pt x="154" y="478"/>
                  </a:cubicBezTo>
                  <a:close/>
                  <a:moveTo>
                    <a:pt x="10" y="302"/>
                  </a:moveTo>
                  <a:cubicBezTo>
                    <a:pt x="96" y="302"/>
                    <a:pt x="96" y="302"/>
                    <a:pt x="96" y="302"/>
                  </a:cubicBezTo>
                  <a:cubicBezTo>
                    <a:pt x="102" y="302"/>
                    <a:pt x="106" y="297"/>
                    <a:pt x="106" y="292"/>
                  </a:cubicBezTo>
                  <a:cubicBezTo>
                    <a:pt x="106" y="164"/>
                    <a:pt x="106" y="164"/>
                    <a:pt x="106" y="164"/>
                  </a:cubicBezTo>
                  <a:cubicBezTo>
                    <a:pt x="106" y="158"/>
                    <a:pt x="102" y="154"/>
                    <a:pt x="96" y="154"/>
                  </a:cubicBezTo>
                  <a:cubicBezTo>
                    <a:pt x="10" y="154"/>
                    <a:pt x="10" y="154"/>
                    <a:pt x="10" y="154"/>
                  </a:cubicBezTo>
                  <a:cubicBezTo>
                    <a:pt x="4" y="154"/>
                    <a:pt x="0" y="158"/>
                    <a:pt x="0" y="164"/>
                  </a:cubicBezTo>
                  <a:cubicBezTo>
                    <a:pt x="0" y="292"/>
                    <a:pt x="0" y="292"/>
                    <a:pt x="0" y="292"/>
                  </a:cubicBezTo>
                  <a:cubicBezTo>
                    <a:pt x="0" y="297"/>
                    <a:pt x="4" y="302"/>
                    <a:pt x="10" y="302"/>
                  </a:cubicBezTo>
                  <a:close/>
                  <a:moveTo>
                    <a:pt x="10" y="478"/>
                  </a:moveTo>
                  <a:cubicBezTo>
                    <a:pt x="96" y="478"/>
                    <a:pt x="96" y="478"/>
                    <a:pt x="96" y="478"/>
                  </a:cubicBezTo>
                  <a:cubicBezTo>
                    <a:pt x="102" y="478"/>
                    <a:pt x="106" y="474"/>
                    <a:pt x="106" y="468"/>
                  </a:cubicBezTo>
                  <a:cubicBezTo>
                    <a:pt x="106" y="341"/>
                    <a:pt x="106" y="341"/>
                    <a:pt x="106" y="341"/>
                  </a:cubicBezTo>
                  <a:cubicBezTo>
                    <a:pt x="106" y="335"/>
                    <a:pt x="102" y="331"/>
                    <a:pt x="96" y="331"/>
                  </a:cubicBezTo>
                  <a:cubicBezTo>
                    <a:pt x="10" y="331"/>
                    <a:pt x="10" y="331"/>
                    <a:pt x="10" y="331"/>
                  </a:cubicBezTo>
                  <a:cubicBezTo>
                    <a:pt x="4" y="331"/>
                    <a:pt x="0" y="335"/>
                    <a:pt x="0" y="341"/>
                  </a:cubicBezTo>
                  <a:cubicBezTo>
                    <a:pt x="0" y="468"/>
                    <a:pt x="0" y="468"/>
                    <a:pt x="0" y="468"/>
                  </a:cubicBezTo>
                  <a:cubicBezTo>
                    <a:pt x="0" y="474"/>
                    <a:pt x="4" y="478"/>
                    <a:pt x="10" y="478"/>
                  </a:cubicBezTo>
                  <a:close/>
                  <a:moveTo>
                    <a:pt x="298" y="302"/>
                  </a:moveTo>
                  <a:cubicBezTo>
                    <a:pt x="384" y="302"/>
                    <a:pt x="384" y="302"/>
                    <a:pt x="384" y="302"/>
                  </a:cubicBezTo>
                  <a:cubicBezTo>
                    <a:pt x="390" y="302"/>
                    <a:pt x="394" y="297"/>
                    <a:pt x="394" y="292"/>
                  </a:cubicBezTo>
                  <a:cubicBezTo>
                    <a:pt x="394" y="164"/>
                    <a:pt x="394" y="164"/>
                    <a:pt x="394" y="164"/>
                  </a:cubicBezTo>
                  <a:cubicBezTo>
                    <a:pt x="394" y="158"/>
                    <a:pt x="390" y="154"/>
                    <a:pt x="384" y="154"/>
                  </a:cubicBezTo>
                  <a:cubicBezTo>
                    <a:pt x="298" y="154"/>
                    <a:pt x="298" y="154"/>
                    <a:pt x="298" y="154"/>
                  </a:cubicBezTo>
                  <a:cubicBezTo>
                    <a:pt x="292" y="154"/>
                    <a:pt x="288" y="158"/>
                    <a:pt x="288" y="164"/>
                  </a:cubicBezTo>
                  <a:cubicBezTo>
                    <a:pt x="288" y="292"/>
                    <a:pt x="288" y="292"/>
                    <a:pt x="288" y="292"/>
                  </a:cubicBezTo>
                  <a:cubicBezTo>
                    <a:pt x="288" y="297"/>
                    <a:pt x="292" y="302"/>
                    <a:pt x="298" y="302"/>
                  </a:cubicBezTo>
                  <a:close/>
                  <a:moveTo>
                    <a:pt x="298" y="478"/>
                  </a:moveTo>
                  <a:cubicBezTo>
                    <a:pt x="384" y="478"/>
                    <a:pt x="384" y="478"/>
                    <a:pt x="384" y="478"/>
                  </a:cubicBezTo>
                  <a:cubicBezTo>
                    <a:pt x="390" y="478"/>
                    <a:pt x="394" y="474"/>
                    <a:pt x="394" y="468"/>
                  </a:cubicBezTo>
                  <a:cubicBezTo>
                    <a:pt x="394" y="341"/>
                    <a:pt x="394" y="341"/>
                    <a:pt x="394" y="341"/>
                  </a:cubicBezTo>
                  <a:cubicBezTo>
                    <a:pt x="394" y="335"/>
                    <a:pt x="390" y="331"/>
                    <a:pt x="384" y="331"/>
                  </a:cubicBezTo>
                  <a:cubicBezTo>
                    <a:pt x="298" y="331"/>
                    <a:pt x="298" y="331"/>
                    <a:pt x="298" y="331"/>
                  </a:cubicBezTo>
                  <a:cubicBezTo>
                    <a:pt x="292" y="331"/>
                    <a:pt x="288" y="335"/>
                    <a:pt x="288" y="341"/>
                  </a:cubicBezTo>
                  <a:cubicBezTo>
                    <a:pt x="288" y="468"/>
                    <a:pt x="288" y="468"/>
                    <a:pt x="288" y="468"/>
                  </a:cubicBezTo>
                  <a:cubicBezTo>
                    <a:pt x="288" y="474"/>
                    <a:pt x="292" y="478"/>
                    <a:pt x="298" y="478"/>
                  </a:cubicBezTo>
                  <a:close/>
                  <a:moveTo>
                    <a:pt x="154" y="655"/>
                  </a:moveTo>
                  <a:cubicBezTo>
                    <a:pt x="240" y="655"/>
                    <a:pt x="240" y="655"/>
                    <a:pt x="240" y="655"/>
                  </a:cubicBezTo>
                  <a:cubicBezTo>
                    <a:pt x="246" y="655"/>
                    <a:pt x="250" y="651"/>
                    <a:pt x="250" y="645"/>
                  </a:cubicBezTo>
                  <a:cubicBezTo>
                    <a:pt x="250" y="517"/>
                    <a:pt x="250" y="517"/>
                    <a:pt x="250" y="517"/>
                  </a:cubicBezTo>
                  <a:cubicBezTo>
                    <a:pt x="250" y="512"/>
                    <a:pt x="246" y="507"/>
                    <a:pt x="240" y="507"/>
                  </a:cubicBezTo>
                  <a:cubicBezTo>
                    <a:pt x="154" y="507"/>
                    <a:pt x="154" y="507"/>
                    <a:pt x="154" y="507"/>
                  </a:cubicBezTo>
                  <a:cubicBezTo>
                    <a:pt x="148" y="507"/>
                    <a:pt x="144" y="512"/>
                    <a:pt x="144" y="517"/>
                  </a:cubicBezTo>
                  <a:cubicBezTo>
                    <a:pt x="144" y="645"/>
                    <a:pt x="144" y="645"/>
                    <a:pt x="144" y="645"/>
                  </a:cubicBezTo>
                  <a:cubicBezTo>
                    <a:pt x="144" y="651"/>
                    <a:pt x="148" y="655"/>
                    <a:pt x="154" y="655"/>
                  </a:cubicBezTo>
                  <a:close/>
                  <a:moveTo>
                    <a:pt x="10" y="655"/>
                  </a:moveTo>
                  <a:cubicBezTo>
                    <a:pt x="96" y="655"/>
                    <a:pt x="96" y="655"/>
                    <a:pt x="96" y="655"/>
                  </a:cubicBezTo>
                  <a:cubicBezTo>
                    <a:pt x="102" y="655"/>
                    <a:pt x="106" y="651"/>
                    <a:pt x="106" y="645"/>
                  </a:cubicBezTo>
                  <a:cubicBezTo>
                    <a:pt x="106" y="517"/>
                    <a:pt x="106" y="517"/>
                    <a:pt x="106" y="517"/>
                  </a:cubicBezTo>
                  <a:cubicBezTo>
                    <a:pt x="106" y="512"/>
                    <a:pt x="102" y="507"/>
                    <a:pt x="96" y="507"/>
                  </a:cubicBezTo>
                  <a:cubicBezTo>
                    <a:pt x="10" y="507"/>
                    <a:pt x="10" y="507"/>
                    <a:pt x="10" y="507"/>
                  </a:cubicBezTo>
                  <a:cubicBezTo>
                    <a:pt x="4" y="507"/>
                    <a:pt x="0" y="512"/>
                    <a:pt x="0" y="517"/>
                  </a:cubicBezTo>
                  <a:cubicBezTo>
                    <a:pt x="0" y="645"/>
                    <a:pt x="0" y="645"/>
                    <a:pt x="0" y="645"/>
                  </a:cubicBezTo>
                  <a:cubicBezTo>
                    <a:pt x="0" y="651"/>
                    <a:pt x="4" y="655"/>
                    <a:pt x="10" y="655"/>
                  </a:cubicBezTo>
                  <a:close/>
                  <a:moveTo>
                    <a:pt x="298" y="655"/>
                  </a:moveTo>
                  <a:cubicBezTo>
                    <a:pt x="384" y="655"/>
                    <a:pt x="384" y="655"/>
                    <a:pt x="384" y="655"/>
                  </a:cubicBezTo>
                  <a:cubicBezTo>
                    <a:pt x="390" y="655"/>
                    <a:pt x="394" y="651"/>
                    <a:pt x="394" y="645"/>
                  </a:cubicBezTo>
                  <a:cubicBezTo>
                    <a:pt x="394" y="517"/>
                    <a:pt x="394" y="517"/>
                    <a:pt x="394" y="517"/>
                  </a:cubicBezTo>
                  <a:cubicBezTo>
                    <a:pt x="394" y="512"/>
                    <a:pt x="390" y="507"/>
                    <a:pt x="384" y="507"/>
                  </a:cubicBezTo>
                  <a:cubicBezTo>
                    <a:pt x="298" y="507"/>
                    <a:pt x="298" y="507"/>
                    <a:pt x="298" y="507"/>
                  </a:cubicBezTo>
                  <a:cubicBezTo>
                    <a:pt x="292" y="507"/>
                    <a:pt x="288" y="512"/>
                    <a:pt x="288" y="517"/>
                  </a:cubicBezTo>
                  <a:cubicBezTo>
                    <a:pt x="288" y="645"/>
                    <a:pt x="288" y="645"/>
                    <a:pt x="288" y="645"/>
                  </a:cubicBezTo>
                  <a:cubicBezTo>
                    <a:pt x="288" y="651"/>
                    <a:pt x="292" y="655"/>
                    <a:pt x="298" y="655"/>
                  </a:cubicBezTo>
                  <a:close/>
                  <a:moveTo>
                    <a:pt x="1815" y="1002"/>
                  </a:moveTo>
                  <a:cubicBezTo>
                    <a:pt x="1815" y="1046"/>
                    <a:pt x="1815" y="1046"/>
                    <a:pt x="1815" y="1046"/>
                  </a:cubicBezTo>
                  <a:cubicBezTo>
                    <a:pt x="1815" y="1052"/>
                    <a:pt x="1810" y="1057"/>
                    <a:pt x="1803" y="1057"/>
                  </a:cubicBezTo>
                  <a:cubicBezTo>
                    <a:pt x="1103" y="1057"/>
                    <a:pt x="1103" y="1057"/>
                    <a:pt x="1103" y="1057"/>
                  </a:cubicBezTo>
                  <a:cubicBezTo>
                    <a:pt x="1096" y="1057"/>
                    <a:pt x="1091" y="1052"/>
                    <a:pt x="1091" y="1046"/>
                  </a:cubicBezTo>
                  <a:cubicBezTo>
                    <a:pt x="1091" y="1002"/>
                    <a:pt x="1091" y="1002"/>
                    <a:pt x="1091" y="1002"/>
                  </a:cubicBezTo>
                  <a:cubicBezTo>
                    <a:pt x="1091" y="996"/>
                    <a:pt x="1096" y="990"/>
                    <a:pt x="1103" y="990"/>
                  </a:cubicBezTo>
                  <a:cubicBezTo>
                    <a:pt x="1137" y="990"/>
                    <a:pt x="1137" y="990"/>
                    <a:pt x="1137" y="990"/>
                  </a:cubicBezTo>
                  <a:cubicBezTo>
                    <a:pt x="1137" y="975"/>
                    <a:pt x="1137" y="975"/>
                    <a:pt x="1137" y="975"/>
                  </a:cubicBezTo>
                  <a:cubicBezTo>
                    <a:pt x="1137" y="968"/>
                    <a:pt x="1142" y="963"/>
                    <a:pt x="1149" y="963"/>
                  </a:cubicBezTo>
                  <a:cubicBezTo>
                    <a:pt x="1758" y="963"/>
                    <a:pt x="1758" y="963"/>
                    <a:pt x="1758" y="963"/>
                  </a:cubicBezTo>
                  <a:cubicBezTo>
                    <a:pt x="1764" y="963"/>
                    <a:pt x="1769" y="968"/>
                    <a:pt x="1769" y="975"/>
                  </a:cubicBezTo>
                  <a:cubicBezTo>
                    <a:pt x="1769" y="990"/>
                    <a:pt x="1769" y="990"/>
                    <a:pt x="1769" y="990"/>
                  </a:cubicBezTo>
                  <a:cubicBezTo>
                    <a:pt x="1803" y="990"/>
                    <a:pt x="1803" y="990"/>
                    <a:pt x="1803" y="990"/>
                  </a:cubicBezTo>
                  <a:cubicBezTo>
                    <a:pt x="1810" y="990"/>
                    <a:pt x="1815" y="996"/>
                    <a:pt x="1815" y="1002"/>
                  </a:cubicBezTo>
                  <a:close/>
                  <a:moveTo>
                    <a:pt x="1791" y="85"/>
                  </a:moveTo>
                  <a:cubicBezTo>
                    <a:pt x="1791" y="147"/>
                    <a:pt x="1791" y="147"/>
                    <a:pt x="1791" y="147"/>
                  </a:cubicBezTo>
                  <a:cubicBezTo>
                    <a:pt x="1791" y="159"/>
                    <a:pt x="1781" y="169"/>
                    <a:pt x="1769" y="169"/>
                  </a:cubicBezTo>
                  <a:cubicBezTo>
                    <a:pt x="1758" y="169"/>
                    <a:pt x="1758" y="169"/>
                    <a:pt x="1758" y="169"/>
                  </a:cubicBezTo>
                  <a:cubicBezTo>
                    <a:pt x="1758" y="928"/>
                    <a:pt x="1758" y="928"/>
                    <a:pt x="1758" y="928"/>
                  </a:cubicBezTo>
                  <a:cubicBezTo>
                    <a:pt x="1714" y="928"/>
                    <a:pt x="1714" y="928"/>
                    <a:pt x="1714" y="928"/>
                  </a:cubicBezTo>
                  <a:cubicBezTo>
                    <a:pt x="1714" y="147"/>
                    <a:pt x="1714" y="147"/>
                    <a:pt x="1714" y="147"/>
                  </a:cubicBezTo>
                  <a:cubicBezTo>
                    <a:pt x="1714" y="135"/>
                    <a:pt x="1724" y="125"/>
                    <a:pt x="1736" y="125"/>
                  </a:cubicBezTo>
                  <a:cubicBezTo>
                    <a:pt x="1747" y="125"/>
                    <a:pt x="1747" y="125"/>
                    <a:pt x="1747" y="125"/>
                  </a:cubicBezTo>
                  <a:cubicBezTo>
                    <a:pt x="1747" y="107"/>
                    <a:pt x="1747" y="107"/>
                    <a:pt x="1747" y="107"/>
                  </a:cubicBezTo>
                  <a:cubicBezTo>
                    <a:pt x="1159" y="107"/>
                    <a:pt x="1159" y="107"/>
                    <a:pt x="1159" y="107"/>
                  </a:cubicBezTo>
                  <a:cubicBezTo>
                    <a:pt x="1159" y="125"/>
                    <a:pt x="1159" y="125"/>
                    <a:pt x="1159" y="125"/>
                  </a:cubicBezTo>
                  <a:cubicBezTo>
                    <a:pt x="1170" y="125"/>
                    <a:pt x="1170" y="125"/>
                    <a:pt x="1170" y="125"/>
                  </a:cubicBezTo>
                  <a:cubicBezTo>
                    <a:pt x="1183" y="125"/>
                    <a:pt x="1192" y="135"/>
                    <a:pt x="1192" y="147"/>
                  </a:cubicBezTo>
                  <a:cubicBezTo>
                    <a:pt x="1192" y="928"/>
                    <a:pt x="1192" y="928"/>
                    <a:pt x="1192" y="928"/>
                  </a:cubicBezTo>
                  <a:cubicBezTo>
                    <a:pt x="1148" y="928"/>
                    <a:pt x="1148" y="928"/>
                    <a:pt x="1148" y="928"/>
                  </a:cubicBezTo>
                  <a:cubicBezTo>
                    <a:pt x="1148" y="169"/>
                    <a:pt x="1148" y="169"/>
                    <a:pt x="1148" y="169"/>
                  </a:cubicBezTo>
                  <a:cubicBezTo>
                    <a:pt x="1137" y="169"/>
                    <a:pt x="1137" y="169"/>
                    <a:pt x="1137" y="169"/>
                  </a:cubicBezTo>
                  <a:cubicBezTo>
                    <a:pt x="1125" y="169"/>
                    <a:pt x="1115" y="159"/>
                    <a:pt x="1115" y="147"/>
                  </a:cubicBezTo>
                  <a:cubicBezTo>
                    <a:pt x="1115" y="85"/>
                    <a:pt x="1115" y="85"/>
                    <a:pt x="1115" y="85"/>
                  </a:cubicBezTo>
                  <a:cubicBezTo>
                    <a:pt x="1115" y="73"/>
                    <a:pt x="1125" y="63"/>
                    <a:pt x="1137" y="63"/>
                  </a:cubicBezTo>
                  <a:cubicBezTo>
                    <a:pt x="1176" y="63"/>
                    <a:pt x="1176" y="63"/>
                    <a:pt x="1176" y="63"/>
                  </a:cubicBezTo>
                  <a:cubicBezTo>
                    <a:pt x="1199" y="13"/>
                    <a:pt x="1199" y="13"/>
                    <a:pt x="1199" y="13"/>
                  </a:cubicBezTo>
                  <a:cubicBezTo>
                    <a:pt x="1203" y="5"/>
                    <a:pt x="1211" y="0"/>
                    <a:pt x="1219" y="0"/>
                  </a:cubicBezTo>
                  <a:cubicBezTo>
                    <a:pt x="1687" y="0"/>
                    <a:pt x="1687" y="0"/>
                    <a:pt x="1687" y="0"/>
                  </a:cubicBezTo>
                  <a:cubicBezTo>
                    <a:pt x="1695" y="0"/>
                    <a:pt x="1703" y="5"/>
                    <a:pt x="1707" y="13"/>
                  </a:cubicBezTo>
                  <a:cubicBezTo>
                    <a:pt x="1730" y="63"/>
                    <a:pt x="1730" y="63"/>
                    <a:pt x="1730" y="63"/>
                  </a:cubicBezTo>
                  <a:cubicBezTo>
                    <a:pt x="1769" y="63"/>
                    <a:pt x="1769" y="63"/>
                    <a:pt x="1769" y="63"/>
                  </a:cubicBezTo>
                  <a:cubicBezTo>
                    <a:pt x="1781" y="63"/>
                    <a:pt x="1791" y="73"/>
                    <a:pt x="1791" y="85"/>
                  </a:cubicBezTo>
                  <a:close/>
                  <a:moveTo>
                    <a:pt x="1224" y="63"/>
                  </a:moveTo>
                  <a:cubicBezTo>
                    <a:pt x="1682" y="63"/>
                    <a:pt x="1682" y="63"/>
                    <a:pt x="1682" y="63"/>
                  </a:cubicBezTo>
                  <a:cubicBezTo>
                    <a:pt x="1673" y="44"/>
                    <a:pt x="1673" y="44"/>
                    <a:pt x="1673" y="44"/>
                  </a:cubicBezTo>
                  <a:cubicBezTo>
                    <a:pt x="1233" y="44"/>
                    <a:pt x="1233" y="44"/>
                    <a:pt x="1233" y="44"/>
                  </a:cubicBezTo>
                  <a:lnTo>
                    <a:pt x="1224" y="63"/>
                  </a:lnTo>
                  <a:close/>
                  <a:moveTo>
                    <a:pt x="1326" y="1153"/>
                  </a:moveTo>
                  <a:cubicBezTo>
                    <a:pt x="1319" y="1143"/>
                    <a:pt x="1305" y="1142"/>
                    <a:pt x="1295" y="1149"/>
                  </a:cubicBezTo>
                  <a:cubicBezTo>
                    <a:pt x="1160" y="1254"/>
                    <a:pt x="997" y="1310"/>
                    <a:pt x="825" y="1310"/>
                  </a:cubicBezTo>
                  <a:cubicBezTo>
                    <a:pt x="674" y="1310"/>
                    <a:pt x="531" y="1267"/>
                    <a:pt x="406" y="1186"/>
                  </a:cubicBezTo>
                  <a:cubicBezTo>
                    <a:pt x="437" y="1185"/>
                    <a:pt x="437" y="1185"/>
                    <a:pt x="437" y="1185"/>
                  </a:cubicBezTo>
                  <a:cubicBezTo>
                    <a:pt x="449" y="1184"/>
                    <a:pt x="459" y="1174"/>
                    <a:pt x="458" y="1162"/>
                  </a:cubicBezTo>
                  <a:cubicBezTo>
                    <a:pt x="458" y="1150"/>
                    <a:pt x="448" y="1140"/>
                    <a:pt x="435" y="1141"/>
                  </a:cubicBezTo>
                  <a:cubicBezTo>
                    <a:pt x="340" y="1144"/>
                    <a:pt x="340" y="1144"/>
                    <a:pt x="340" y="1144"/>
                  </a:cubicBezTo>
                  <a:cubicBezTo>
                    <a:pt x="340" y="1144"/>
                    <a:pt x="339" y="1144"/>
                    <a:pt x="339" y="1145"/>
                  </a:cubicBezTo>
                  <a:cubicBezTo>
                    <a:pt x="338" y="1145"/>
                    <a:pt x="338" y="1145"/>
                    <a:pt x="338" y="1145"/>
                  </a:cubicBezTo>
                  <a:cubicBezTo>
                    <a:pt x="337" y="1145"/>
                    <a:pt x="336" y="1145"/>
                    <a:pt x="334" y="1145"/>
                  </a:cubicBezTo>
                  <a:cubicBezTo>
                    <a:pt x="334" y="1145"/>
                    <a:pt x="334" y="1146"/>
                    <a:pt x="334" y="1146"/>
                  </a:cubicBezTo>
                  <a:cubicBezTo>
                    <a:pt x="333" y="1146"/>
                    <a:pt x="332" y="1147"/>
                    <a:pt x="330" y="1147"/>
                  </a:cubicBezTo>
                  <a:cubicBezTo>
                    <a:pt x="330" y="1147"/>
                    <a:pt x="330" y="1147"/>
                    <a:pt x="330" y="1147"/>
                  </a:cubicBezTo>
                  <a:cubicBezTo>
                    <a:pt x="329" y="1148"/>
                    <a:pt x="328" y="1149"/>
                    <a:pt x="327" y="1150"/>
                  </a:cubicBezTo>
                  <a:cubicBezTo>
                    <a:pt x="327" y="1150"/>
                    <a:pt x="327" y="1150"/>
                    <a:pt x="327" y="1150"/>
                  </a:cubicBezTo>
                  <a:cubicBezTo>
                    <a:pt x="326" y="1151"/>
                    <a:pt x="325" y="1152"/>
                    <a:pt x="324" y="1153"/>
                  </a:cubicBezTo>
                  <a:cubicBezTo>
                    <a:pt x="324" y="1153"/>
                    <a:pt x="324" y="1153"/>
                    <a:pt x="324" y="1153"/>
                  </a:cubicBezTo>
                  <a:cubicBezTo>
                    <a:pt x="324" y="1153"/>
                    <a:pt x="324" y="1153"/>
                    <a:pt x="324" y="1153"/>
                  </a:cubicBezTo>
                  <a:cubicBezTo>
                    <a:pt x="323" y="1153"/>
                    <a:pt x="323" y="1154"/>
                    <a:pt x="323" y="1154"/>
                  </a:cubicBezTo>
                  <a:cubicBezTo>
                    <a:pt x="322" y="1155"/>
                    <a:pt x="322" y="1156"/>
                    <a:pt x="321" y="1157"/>
                  </a:cubicBezTo>
                  <a:cubicBezTo>
                    <a:pt x="321" y="1157"/>
                    <a:pt x="321" y="1157"/>
                    <a:pt x="321" y="1157"/>
                  </a:cubicBezTo>
                  <a:cubicBezTo>
                    <a:pt x="321" y="1158"/>
                    <a:pt x="320" y="1159"/>
                    <a:pt x="320" y="1161"/>
                  </a:cubicBezTo>
                  <a:cubicBezTo>
                    <a:pt x="320" y="1161"/>
                    <a:pt x="320" y="1161"/>
                    <a:pt x="320" y="1161"/>
                  </a:cubicBezTo>
                  <a:cubicBezTo>
                    <a:pt x="320" y="1162"/>
                    <a:pt x="319" y="1163"/>
                    <a:pt x="319" y="1165"/>
                  </a:cubicBezTo>
                  <a:cubicBezTo>
                    <a:pt x="319" y="1165"/>
                    <a:pt x="319" y="1165"/>
                    <a:pt x="319" y="1165"/>
                  </a:cubicBezTo>
                  <a:cubicBezTo>
                    <a:pt x="319" y="1166"/>
                    <a:pt x="319" y="1168"/>
                    <a:pt x="319" y="1169"/>
                  </a:cubicBezTo>
                  <a:cubicBezTo>
                    <a:pt x="319" y="1169"/>
                    <a:pt x="319" y="1169"/>
                    <a:pt x="319" y="1170"/>
                  </a:cubicBezTo>
                  <a:cubicBezTo>
                    <a:pt x="320" y="1171"/>
                    <a:pt x="320" y="1172"/>
                    <a:pt x="320" y="1173"/>
                  </a:cubicBezTo>
                  <a:cubicBezTo>
                    <a:pt x="320" y="1173"/>
                    <a:pt x="320" y="1173"/>
                    <a:pt x="320" y="1173"/>
                  </a:cubicBezTo>
                  <a:cubicBezTo>
                    <a:pt x="320" y="1173"/>
                    <a:pt x="320" y="1173"/>
                    <a:pt x="320" y="1173"/>
                  </a:cubicBezTo>
                  <a:cubicBezTo>
                    <a:pt x="351" y="1264"/>
                    <a:pt x="351" y="1264"/>
                    <a:pt x="351" y="1264"/>
                  </a:cubicBezTo>
                  <a:cubicBezTo>
                    <a:pt x="354" y="1273"/>
                    <a:pt x="362" y="1279"/>
                    <a:pt x="372" y="1279"/>
                  </a:cubicBezTo>
                  <a:cubicBezTo>
                    <a:pt x="374" y="1279"/>
                    <a:pt x="376" y="1278"/>
                    <a:pt x="379" y="1277"/>
                  </a:cubicBezTo>
                  <a:cubicBezTo>
                    <a:pt x="390" y="1274"/>
                    <a:pt x="396" y="1261"/>
                    <a:pt x="392" y="1250"/>
                  </a:cubicBezTo>
                  <a:cubicBezTo>
                    <a:pt x="384" y="1224"/>
                    <a:pt x="384" y="1224"/>
                    <a:pt x="384" y="1224"/>
                  </a:cubicBezTo>
                  <a:cubicBezTo>
                    <a:pt x="515" y="1309"/>
                    <a:pt x="666" y="1354"/>
                    <a:pt x="825" y="1354"/>
                  </a:cubicBezTo>
                  <a:cubicBezTo>
                    <a:pt x="1007" y="1354"/>
                    <a:pt x="1179" y="1295"/>
                    <a:pt x="1322" y="1184"/>
                  </a:cubicBezTo>
                  <a:cubicBezTo>
                    <a:pt x="1332" y="1176"/>
                    <a:pt x="1334" y="1162"/>
                    <a:pt x="1326" y="1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dirty="0"/>
            </a:p>
          </p:txBody>
        </p:sp>
      </p:grpSp>
      <p:sp>
        <p:nvSpPr>
          <p:cNvPr id="65" name="Rectangle 64">
            <a:extLst>
              <a:ext uri="{FF2B5EF4-FFF2-40B4-BE49-F238E27FC236}">
                <a16:creationId xmlns:a16="http://schemas.microsoft.com/office/drawing/2014/main" id="{724F8AE1-14B3-4A56-A1C9-7A6F58F79019}"/>
              </a:ext>
            </a:extLst>
          </p:cNvPr>
          <p:cNvSpPr/>
          <p:nvPr/>
        </p:nvSpPr>
        <p:spPr>
          <a:xfrm>
            <a:off x="8904313" y="1879854"/>
            <a:ext cx="2633988"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08000" lvl="1">
              <a:buClr>
                <a:schemeClr val="tx2">
                  <a:lumMod val="100000"/>
                </a:schemeClr>
              </a:buClr>
              <a:buSzPct val="100000"/>
            </a:pPr>
            <a:r>
              <a:rPr lang="cs-CZ" sz="1600" b="1" i="1" dirty="0">
                <a:solidFill>
                  <a:srgbClr val="E22949"/>
                </a:solidFill>
                <a:latin typeface="Trebuchet MS" panose="020B0603020202020204" pitchFamily="34" charset="0"/>
              </a:rPr>
              <a:t>Problems:</a:t>
            </a:r>
            <a:endParaRPr lang="cs-CZ" sz="1400" b="1" i="1" dirty="0">
              <a:solidFill>
                <a:srgbClr val="E22949"/>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cs-CZ" sz="1400" i="1" dirty="0" err="1">
                <a:solidFill>
                  <a:srgbClr val="E22949"/>
                </a:solidFill>
                <a:latin typeface="Trebuchet MS" panose="020B0603020202020204" pitchFamily="34" charset="0"/>
              </a:rPr>
              <a:t>Overwhelming</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information</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from</a:t>
            </a:r>
            <a:r>
              <a:rPr lang="cs-CZ" sz="1400" i="1" dirty="0">
                <a:solidFill>
                  <a:srgbClr val="E22949"/>
                </a:solidFill>
                <a:latin typeface="Trebuchet MS" panose="020B0603020202020204" pitchFamily="34" charset="0"/>
              </a:rPr>
              <a:t> many </a:t>
            </a:r>
            <a:r>
              <a:rPr lang="cs-CZ" sz="1400" i="1" dirty="0" err="1">
                <a:solidFill>
                  <a:srgbClr val="E22949"/>
                </a:solidFill>
                <a:latin typeface="Trebuchet MS" panose="020B0603020202020204" pitchFamily="34" charset="0"/>
              </a:rPr>
              <a:t>sources</a:t>
            </a:r>
            <a:endParaRPr lang="cs-CZ" sz="1400" i="1" dirty="0">
              <a:solidFill>
                <a:srgbClr val="E22949"/>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cs-CZ" sz="1400" i="1" dirty="0" err="1">
                <a:solidFill>
                  <a:srgbClr val="E22949"/>
                </a:solidFill>
                <a:latin typeface="Trebuchet MS" panose="020B0603020202020204" pitchFamily="34" charset="0"/>
              </a:rPr>
              <a:t>High</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real</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estate</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turnover</a:t>
            </a:r>
            <a:endParaRPr lang="cs-CZ" sz="1400" i="1" dirty="0">
              <a:solidFill>
                <a:srgbClr val="E22949"/>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cs-CZ" sz="1400" i="1" dirty="0">
                <a:solidFill>
                  <a:srgbClr val="E22949"/>
                </a:solidFill>
                <a:latin typeface="Trebuchet MS" panose="020B0603020202020204" pitchFamily="34" charset="0"/>
              </a:rPr>
              <a:t>Not </a:t>
            </a:r>
            <a:r>
              <a:rPr lang="cs-CZ" sz="1400" i="1" dirty="0" err="1">
                <a:solidFill>
                  <a:srgbClr val="E22949"/>
                </a:solidFill>
                <a:latin typeface="Trebuchet MS" panose="020B0603020202020204" pitchFamily="34" charset="0"/>
              </a:rPr>
              <a:t>knowing</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the</a:t>
            </a:r>
            <a:r>
              <a:rPr lang="cs-CZ" sz="1400" i="1" dirty="0">
                <a:solidFill>
                  <a:srgbClr val="E22949"/>
                </a:solidFill>
                <a:latin typeface="Trebuchet MS" panose="020B0603020202020204" pitchFamily="34" charset="0"/>
              </a:rPr>
              <a:t> </a:t>
            </a:r>
            <a:r>
              <a:rPr lang="cs-CZ" sz="1400" i="1" dirty="0" err="1">
                <a:solidFill>
                  <a:srgbClr val="E22949"/>
                </a:solidFill>
                <a:latin typeface="Trebuchet MS" panose="020B0603020202020204" pitchFamily="34" charset="0"/>
              </a:rPr>
              <a:t>right</a:t>
            </a:r>
            <a:r>
              <a:rPr lang="cs-CZ" sz="1400" i="1" dirty="0">
                <a:solidFill>
                  <a:srgbClr val="E22949"/>
                </a:solidFill>
                <a:latin typeface="Trebuchet MS" panose="020B0603020202020204" pitchFamily="34" charset="0"/>
              </a:rPr>
              <a:t> market </a:t>
            </a:r>
            <a:r>
              <a:rPr lang="cs-CZ" sz="1400" i="1" dirty="0" err="1">
                <a:solidFill>
                  <a:srgbClr val="E22949"/>
                </a:solidFill>
                <a:latin typeface="Trebuchet MS" panose="020B0603020202020204" pitchFamily="34" charset="0"/>
              </a:rPr>
              <a:t>prices</a:t>
            </a:r>
            <a:endParaRPr lang="cs-CZ" sz="1400" i="1" dirty="0">
              <a:solidFill>
                <a:srgbClr val="E22949"/>
              </a:solidFill>
              <a:latin typeface="Trebuchet MS" panose="020B0603020202020204" pitchFamily="34" charset="0"/>
            </a:endParaRPr>
          </a:p>
          <a:p>
            <a:pPr algn="ctr">
              <a:lnSpc>
                <a:spcPct val="90000"/>
              </a:lnSpc>
              <a:spcAft>
                <a:spcPts val="1000"/>
              </a:spcAft>
            </a:pPr>
            <a:endParaRPr lang="cs-CZ" sz="1400" i="1" dirty="0">
              <a:solidFill>
                <a:srgbClr val="E22949"/>
              </a:solidFill>
            </a:endParaRPr>
          </a:p>
        </p:txBody>
      </p:sp>
      <p:grpSp>
        <p:nvGrpSpPr>
          <p:cNvPr id="71" name="Group 9">
            <a:extLst>
              <a:ext uri="{FF2B5EF4-FFF2-40B4-BE49-F238E27FC236}">
                <a16:creationId xmlns:a16="http://schemas.microsoft.com/office/drawing/2014/main" id="{02D27F29-92AD-4445-8F20-4D317C917EEE}"/>
              </a:ext>
            </a:extLst>
          </p:cNvPr>
          <p:cNvGrpSpPr>
            <a:grpSpLocks noChangeAspect="1"/>
          </p:cNvGrpSpPr>
          <p:nvPr/>
        </p:nvGrpSpPr>
        <p:grpSpPr bwMode="auto">
          <a:xfrm>
            <a:off x="1622992" y="1763124"/>
            <a:ext cx="865626" cy="914986"/>
            <a:chOff x="2360" y="613"/>
            <a:chExt cx="3069" cy="3244"/>
          </a:xfrm>
          <a:solidFill>
            <a:schemeClr val="tx2"/>
          </a:solidFill>
        </p:grpSpPr>
        <p:sp>
          <p:nvSpPr>
            <p:cNvPr id="73" name="Freeform 4">
              <a:extLst>
                <a:ext uri="{FF2B5EF4-FFF2-40B4-BE49-F238E27FC236}">
                  <a16:creationId xmlns:a16="http://schemas.microsoft.com/office/drawing/2014/main" id="{A7EFE6E0-789E-491A-97EA-5F4EE2358084}"/>
                </a:ext>
              </a:extLst>
            </p:cNvPr>
            <p:cNvSpPr>
              <a:spLocks noEditPoints="1"/>
            </p:cNvSpPr>
            <p:nvPr/>
          </p:nvSpPr>
          <p:spPr bwMode="auto">
            <a:xfrm>
              <a:off x="2819" y="613"/>
              <a:ext cx="2359" cy="2507"/>
            </a:xfrm>
            <a:custGeom>
              <a:avLst/>
              <a:gdLst>
                <a:gd name="T0" fmla="*/ 1257 w 1259"/>
                <a:gd name="T1" fmla="*/ 464 h 1337"/>
                <a:gd name="T2" fmla="*/ 1203 w 1259"/>
                <a:gd name="T3" fmla="*/ 584 h 1337"/>
                <a:gd name="T4" fmla="*/ 861 w 1259"/>
                <a:gd name="T5" fmla="*/ 822 h 1337"/>
                <a:gd name="T6" fmla="*/ 515 w 1259"/>
                <a:gd name="T7" fmla="*/ 880 h 1337"/>
                <a:gd name="T8" fmla="*/ 157 w 1259"/>
                <a:gd name="T9" fmla="*/ 735 h 1337"/>
                <a:gd name="T10" fmla="*/ 216 w 1259"/>
                <a:gd name="T11" fmla="*/ 718 h 1337"/>
                <a:gd name="T12" fmla="*/ 297 w 1259"/>
                <a:gd name="T13" fmla="*/ 680 h 1337"/>
                <a:gd name="T14" fmla="*/ 363 w 1259"/>
                <a:gd name="T15" fmla="*/ 625 h 1337"/>
                <a:gd name="T16" fmla="*/ 414 w 1259"/>
                <a:gd name="T17" fmla="*/ 552 h 1337"/>
                <a:gd name="T18" fmla="*/ 452 w 1259"/>
                <a:gd name="T19" fmla="*/ 472 h 1337"/>
                <a:gd name="T20" fmla="*/ 414 w 1259"/>
                <a:gd name="T21" fmla="*/ 419 h 1337"/>
                <a:gd name="T22" fmla="*/ 494 w 1259"/>
                <a:gd name="T23" fmla="*/ 407 h 1337"/>
                <a:gd name="T24" fmla="*/ 547 w 1259"/>
                <a:gd name="T25" fmla="*/ 398 h 1337"/>
                <a:gd name="T26" fmla="*/ 622 w 1259"/>
                <a:gd name="T27" fmla="*/ 430 h 1337"/>
                <a:gd name="T28" fmla="*/ 687 w 1259"/>
                <a:gd name="T29" fmla="*/ 411 h 1337"/>
                <a:gd name="T30" fmla="*/ 691 w 1259"/>
                <a:gd name="T31" fmla="*/ 409 h 1337"/>
                <a:gd name="T32" fmla="*/ 750 w 1259"/>
                <a:gd name="T33" fmla="*/ 374 h 1337"/>
                <a:gd name="T34" fmla="*/ 778 w 1259"/>
                <a:gd name="T35" fmla="*/ 297 h 1337"/>
                <a:gd name="T36" fmla="*/ 819 w 1259"/>
                <a:gd name="T37" fmla="*/ 266 h 1337"/>
                <a:gd name="T38" fmla="*/ 1257 w 1259"/>
                <a:gd name="T39" fmla="*/ 456 h 1337"/>
                <a:gd name="T40" fmla="*/ 778 w 1259"/>
                <a:gd name="T41" fmla="*/ 251 h 1337"/>
                <a:gd name="T42" fmla="*/ 706 w 1259"/>
                <a:gd name="T43" fmla="*/ 318 h 1337"/>
                <a:gd name="T44" fmla="*/ 671 w 1259"/>
                <a:gd name="T45" fmla="*/ 370 h 1337"/>
                <a:gd name="T46" fmla="*/ 610 w 1259"/>
                <a:gd name="T47" fmla="*/ 360 h 1337"/>
                <a:gd name="T48" fmla="*/ 513 w 1259"/>
                <a:gd name="T49" fmla="*/ 367 h 1337"/>
                <a:gd name="T50" fmla="*/ 457 w 1259"/>
                <a:gd name="T51" fmla="*/ 287 h 1337"/>
                <a:gd name="T52" fmla="*/ 431 w 1259"/>
                <a:gd name="T53" fmla="*/ 225 h 1337"/>
                <a:gd name="T54" fmla="*/ 414 w 1259"/>
                <a:gd name="T55" fmla="*/ 126 h 1337"/>
                <a:gd name="T56" fmla="*/ 483 w 1259"/>
                <a:gd name="T57" fmla="*/ 66 h 1337"/>
                <a:gd name="T58" fmla="*/ 519 w 1259"/>
                <a:gd name="T59" fmla="*/ 13 h 1337"/>
                <a:gd name="T60" fmla="*/ 583 w 1259"/>
                <a:gd name="T61" fmla="*/ 22 h 1337"/>
                <a:gd name="T62" fmla="*/ 673 w 1259"/>
                <a:gd name="T63" fmla="*/ 14 h 1337"/>
                <a:gd name="T64" fmla="*/ 732 w 1259"/>
                <a:gd name="T65" fmla="*/ 93 h 1337"/>
                <a:gd name="T66" fmla="*/ 759 w 1259"/>
                <a:gd name="T67" fmla="*/ 154 h 1337"/>
                <a:gd name="T68" fmla="*/ 629 w 1259"/>
                <a:gd name="T69" fmla="*/ 269 h 1337"/>
                <a:gd name="T70" fmla="*/ 561 w 1259"/>
                <a:gd name="T71" fmla="*/ 113 h 1337"/>
                <a:gd name="T72" fmla="*/ 629 w 1259"/>
                <a:gd name="T73" fmla="*/ 269 h 1337"/>
                <a:gd name="T74" fmla="*/ 88 w 1259"/>
                <a:gd name="T75" fmla="*/ 277 h 1337"/>
                <a:gd name="T76" fmla="*/ 88 w 1259"/>
                <a:gd name="T77" fmla="*/ 454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59" h="1337">
                  <a:moveTo>
                    <a:pt x="1257" y="456"/>
                  </a:moveTo>
                  <a:cubicBezTo>
                    <a:pt x="1257" y="464"/>
                    <a:pt x="1257" y="464"/>
                    <a:pt x="1257" y="464"/>
                  </a:cubicBezTo>
                  <a:cubicBezTo>
                    <a:pt x="1254" y="508"/>
                    <a:pt x="1235" y="547"/>
                    <a:pt x="1203" y="584"/>
                  </a:cubicBezTo>
                  <a:cubicBezTo>
                    <a:pt x="1203" y="584"/>
                    <a:pt x="1203" y="584"/>
                    <a:pt x="1203" y="584"/>
                  </a:cubicBezTo>
                  <a:cubicBezTo>
                    <a:pt x="1154" y="653"/>
                    <a:pt x="970" y="784"/>
                    <a:pt x="870" y="836"/>
                  </a:cubicBezTo>
                  <a:cubicBezTo>
                    <a:pt x="861" y="840"/>
                    <a:pt x="853" y="828"/>
                    <a:pt x="861" y="822"/>
                  </a:cubicBezTo>
                  <a:cubicBezTo>
                    <a:pt x="892" y="798"/>
                    <a:pt x="912" y="777"/>
                    <a:pt x="925" y="760"/>
                  </a:cubicBezTo>
                  <a:cubicBezTo>
                    <a:pt x="727" y="841"/>
                    <a:pt x="515" y="880"/>
                    <a:pt x="515" y="880"/>
                  </a:cubicBezTo>
                  <a:cubicBezTo>
                    <a:pt x="337" y="1058"/>
                    <a:pt x="559" y="1300"/>
                    <a:pt x="505" y="1324"/>
                  </a:cubicBezTo>
                  <a:cubicBezTo>
                    <a:pt x="476" y="1337"/>
                    <a:pt x="160" y="1067"/>
                    <a:pt x="157" y="735"/>
                  </a:cubicBezTo>
                  <a:cubicBezTo>
                    <a:pt x="170" y="732"/>
                    <a:pt x="170" y="732"/>
                    <a:pt x="170" y="732"/>
                  </a:cubicBezTo>
                  <a:cubicBezTo>
                    <a:pt x="192" y="727"/>
                    <a:pt x="215" y="718"/>
                    <a:pt x="216" y="718"/>
                  </a:cubicBezTo>
                  <a:cubicBezTo>
                    <a:pt x="218" y="717"/>
                    <a:pt x="241" y="709"/>
                    <a:pt x="261" y="698"/>
                  </a:cubicBezTo>
                  <a:cubicBezTo>
                    <a:pt x="297" y="680"/>
                    <a:pt x="297" y="680"/>
                    <a:pt x="297" y="680"/>
                  </a:cubicBezTo>
                  <a:cubicBezTo>
                    <a:pt x="298" y="614"/>
                    <a:pt x="298" y="614"/>
                    <a:pt x="298" y="614"/>
                  </a:cubicBezTo>
                  <a:cubicBezTo>
                    <a:pt x="363" y="625"/>
                    <a:pt x="363" y="625"/>
                    <a:pt x="363" y="625"/>
                  </a:cubicBezTo>
                  <a:cubicBezTo>
                    <a:pt x="387" y="593"/>
                    <a:pt x="387" y="593"/>
                    <a:pt x="387" y="593"/>
                  </a:cubicBezTo>
                  <a:cubicBezTo>
                    <a:pt x="400" y="576"/>
                    <a:pt x="412" y="555"/>
                    <a:pt x="414" y="552"/>
                  </a:cubicBezTo>
                  <a:cubicBezTo>
                    <a:pt x="415" y="550"/>
                    <a:pt x="427" y="529"/>
                    <a:pt x="436" y="509"/>
                  </a:cubicBezTo>
                  <a:cubicBezTo>
                    <a:pt x="452" y="472"/>
                    <a:pt x="452" y="472"/>
                    <a:pt x="452" y="472"/>
                  </a:cubicBezTo>
                  <a:cubicBezTo>
                    <a:pt x="413" y="424"/>
                    <a:pt x="413" y="424"/>
                    <a:pt x="413" y="424"/>
                  </a:cubicBezTo>
                  <a:cubicBezTo>
                    <a:pt x="413" y="422"/>
                    <a:pt x="413" y="420"/>
                    <a:pt x="414" y="419"/>
                  </a:cubicBezTo>
                  <a:cubicBezTo>
                    <a:pt x="464" y="389"/>
                    <a:pt x="464" y="389"/>
                    <a:pt x="464" y="389"/>
                  </a:cubicBezTo>
                  <a:cubicBezTo>
                    <a:pt x="473" y="395"/>
                    <a:pt x="483" y="401"/>
                    <a:pt x="494" y="407"/>
                  </a:cubicBezTo>
                  <a:cubicBezTo>
                    <a:pt x="515" y="417"/>
                    <a:pt x="515" y="417"/>
                    <a:pt x="515" y="417"/>
                  </a:cubicBezTo>
                  <a:cubicBezTo>
                    <a:pt x="547" y="398"/>
                    <a:pt x="547" y="398"/>
                    <a:pt x="547" y="398"/>
                  </a:cubicBezTo>
                  <a:cubicBezTo>
                    <a:pt x="562" y="402"/>
                    <a:pt x="578" y="404"/>
                    <a:pt x="593" y="404"/>
                  </a:cubicBezTo>
                  <a:cubicBezTo>
                    <a:pt x="622" y="430"/>
                    <a:pt x="622" y="430"/>
                    <a:pt x="622" y="430"/>
                  </a:cubicBezTo>
                  <a:cubicBezTo>
                    <a:pt x="644" y="424"/>
                    <a:pt x="644" y="424"/>
                    <a:pt x="644" y="424"/>
                  </a:cubicBezTo>
                  <a:cubicBezTo>
                    <a:pt x="659" y="421"/>
                    <a:pt x="674" y="416"/>
                    <a:pt x="687" y="411"/>
                  </a:cubicBezTo>
                  <a:cubicBezTo>
                    <a:pt x="689" y="410"/>
                    <a:pt x="689" y="410"/>
                    <a:pt x="689" y="410"/>
                  </a:cubicBezTo>
                  <a:cubicBezTo>
                    <a:pt x="691" y="409"/>
                    <a:pt x="691" y="409"/>
                    <a:pt x="691" y="409"/>
                  </a:cubicBezTo>
                  <a:cubicBezTo>
                    <a:pt x="704" y="403"/>
                    <a:pt x="717" y="396"/>
                    <a:pt x="730" y="387"/>
                  </a:cubicBezTo>
                  <a:cubicBezTo>
                    <a:pt x="750" y="374"/>
                    <a:pt x="750" y="374"/>
                    <a:pt x="750" y="374"/>
                  </a:cubicBezTo>
                  <a:cubicBezTo>
                    <a:pt x="750" y="336"/>
                    <a:pt x="750" y="336"/>
                    <a:pt x="750" y="336"/>
                  </a:cubicBezTo>
                  <a:cubicBezTo>
                    <a:pt x="761" y="324"/>
                    <a:pt x="770" y="311"/>
                    <a:pt x="778" y="297"/>
                  </a:cubicBezTo>
                  <a:cubicBezTo>
                    <a:pt x="812" y="287"/>
                    <a:pt x="812" y="287"/>
                    <a:pt x="812" y="287"/>
                  </a:cubicBezTo>
                  <a:cubicBezTo>
                    <a:pt x="819" y="266"/>
                    <a:pt x="819" y="266"/>
                    <a:pt x="819" y="266"/>
                  </a:cubicBezTo>
                  <a:cubicBezTo>
                    <a:pt x="826" y="246"/>
                    <a:pt x="830" y="225"/>
                    <a:pt x="831" y="204"/>
                  </a:cubicBezTo>
                  <a:cubicBezTo>
                    <a:pt x="1145" y="234"/>
                    <a:pt x="1259" y="383"/>
                    <a:pt x="1257" y="456"/>
                  </a:cubicBezTo>
                  <a:close/>
                  <a:moveTo>
                    <a:pt x="786" y="171"/>
                  </a:moveTo>
                  <a:cubicBezTo>
                    <a:pt x="789" y="198"/>
                    <a:pt x="786" y="226"/>
                    <a:pt x="778" y="251"/>
                  </a:cubicBezTo>
                  <a:cubicBezTo>
                    <a:pt x="778" y="251"/>
                    <a:pt x="778" y="251"/>
                    <a:pt x="748" y="261"/>
                  </a:cubicBezTo>
                  <a:cubicBezTo>
                    <a:pt x="738" y="282"/>
                    <a:pt x="724" y="302"/>
                    <a:pt x="706" y="318"/>
                  </a:cubicBezTo>
                  <a:cubicBezTo>
                    <a:pt x="706" y="318"/>
                    <a:pt x="706" y="318"/>
                    <a:pt x="706" y="350"/>
                  </a:cubicBezTo>
                  <a:cubicBezTo>
                    <a:pt x="695" y="357"/>
                    <a:pt x="683" y="364"/>
                    <a:pt x="671" y="370"/>
                  </a:cubicBezTo>
                  <a:cubicBezTo>
                    <a:pt x="659" y="375"/>
                    <a:pt x="646" y="379"/>
                    <a:pt x="634" y="382"/>
                  </a:cubicBezTo>
                  <a:cubicBezTo>
                    <a:pt x="634" y="382"/>
                    <a:pt x="634" y="382"/>
                    <a:pt x="610" y="360"/>
                  </a:cubicBezTo>
                  <a:cubicBezTo>
                    <a:pt x="586" y="362"/>
                    <a:pt x="563" y="359"/>
                    <a:pt x="541" y="351"/>
                  </a:cubicBezTo>
                  <a:cubicBezTo>
                    <a:pt x="541" y="351"/>
                    <a:pt x="541" y="351"/>
                    <a:pt x="513" y="367"/>
                  </a:cubicBezTo>
                  <a:cubicBezTo>
                    <a:pt x="489" y="355"/>
                    <a:pt x="468" y="339"/>
                    <a:pt x="449" y="318"/>
                  </a:cubicBezTo>
                  <a:cubicBezTo>
                    <a:pt x="449" y="318"/>
                    <a:pt x="449" y="318"/>
                    <a:pt x="457" y="287"/>
                  </a:cubicBezTo>
                  <a:cubicBezTo>
                    <a:pt x="451" y="278"/>
                    <a:pt x="446" y="268"/>
                    <a:pt x="442" y="258"/>
                  </a:cubicBezTo>
                  <a:cubicBezTo>
                    <a:pt x="436" y="247"/>
                    <a:pt x="433" y="235"/>
                    <a:pt x="431" y="225"/>
                  </a:cubicBezTo>
                  <a:cubicBezTo>
                    <a:pt x="431" y="225"/>
                    <a:pt x="431" y="225"/>
                    <a:pt x="403" y="209"/>
                  </a:cubicBezTo>
                  <a:cubicBezTo>
                    <a:pt x="401" y="180"/>
                    <a:pt x="405" y="152"/>
                    <a:pt x="414" y="126"/>
                  </a:cubicBezTo>
                  <a:cubicBezTo>
                    <a:pt x="414" y="126"/>
                    <a:pt x="414" y="126"/>
                    <a:pt x="445" y="116"/>
                  </a:cubicBezTo>
                  <a:cubicBezTo>
                    <a:pt x="454" y="97"/>
                    <a:pt x="467" y="81"/>
                    <a:pt x="483" y="66"/>
                  </a:cubicBezTo>
                  <a:cubicBezTo>
                    <a:pt x="483" y="66"/>
                    <a:pt x="483" y="66"/>
                    <a:pt x="483" y="33"/>
                  </a:cubicBezTo>
                  <a:cubicBezTo>
                    <a:pt x="494" y="25"/>
                    <a:pt x="506" y="18"/>
                    <a:pt x="519" y="13"/>
                  </a:cubicBezTo>
                  <a:cubicBezTo>
                    <a:pt x="532" y="7"/>
                    <a:pt x="546" y="3"/>
                    <a:pt x="558" y="0"/>
                  </a:cubicBezTo>
                  <a:cubicBezTo>
                    <a:pt x="558" y="0"/>
                    <a:pt x="558" y="0"/>
                    <a:pt x="583" y="22"/>
                  </a:cubicBezTo>
                  <a:cubicBezTo>
                    <a:pt x="604" y="21"/>
                    <a:pt x="624" y="23"/>
                    <a:pt x="644" y="30"/>
                  </a:cubicBezTo>
                  <a:cubicBezTo>
                    <a:pt x="644" y="30"/>
                    <a:pt x="644" y="30"/>
                    <a:pt x="673" y="14"/>
                  </a:cubicBezTo>
                  <a:cubicBezTo>
                    <a:pt x="697" y="24"/>
                    <a:pt x="720" y="41"/>
                    <a:pt x="738" y="62"/>
                  </a:cubicBezTo>
                  <a:cubicBezTo>
                    <a:pt x="738" y="62"/>
                    <a:pt x="738" y="62"/>
                    <a:pt x="732" y="93"/>
                  </a:cubicBezTo>
                  <a:cubicBezTo>
                    <a:pt x="738" y="103"/>
                    <a:pt x="744" y="113"/>
                    <a:pt x="749" y="124"/>
                  </a:cubicBezTo>
                  <a:cubicBezTo>
                    <a:pt x="753" y="134"/>
                    <a:pt x="756" y="144"/>
                    <a:pt x="759" y="154"/>
                  </a:cubicBezTo>
                  <a:cubicBezTo>
                    <a:pt x="759" y="154"/>
                    <a:pt x="759" y="154"/>
                    <a:pt x="786" y="171"/>
                  </a:cubicBezTo>
                  <a:close/>
                  <a:moveTo>
                    <a:pt x="629" y="269"/>
                  </a:moveTo>
                  <a:cubicBezTo>
                    <a:pt x="671" y="251"/>
                    <a:pt x="691" y="200"/>
                    <a:pt x="672" y="157"/>
                  </a:cubicBezTo>
                  <a:cubicBezTo>
                    <a:pt x="654" y="114"/>
                    <a:pt x="604" y="95"/>
                    <a:pt x="561" y="113"/>
                  </a:cubicBezTo>
                  <a:cubicBezTo>
                    <a:pt x="519" y="132"/>
                    <a:pt x="499" y="181"/>
                    <a:pt x="518" y="225"/>
                  </a:cubicBezTo>
                  <a:cubicBezTo>
                    <a:pt x="536" y="268"/>
                    <a:pt x="586" y="288"/>
                    <a:pt x="629" y="269"/>
                  </a:cubicBezTo>
                  <a:close/>
                  <a:moveTo>
                    <a:pt x="176" y="365"/>
                  </a:moveTo>
                  <a:cubicBezTo>
                    <a:pt x="176" y="316"/>
                    <a:pt x="137" y="277"/>
                    <a:pt x="88" y="277"/>
                  </a:cubicBezTo>
                  <a:cubicBezTo>
                    <a:pt x="39" y="277"/>
                    <a:pt x="0" y="316"/>
                    <a:pt x="0" y="365"/>
                  </a:cubicBezTo>
                  <a:cubicBezTo>
                    <a:pt x="0" y="414"/>
                    <a:pt x="39" y="454"/>
                    <a:pt x="88" y="454"/>
                  </a:cubicBezTo>
                  <a:cubicBezTo>
                    <a:pt x="137" y="454"/>
                    <a:pt x="176" y="414"/>
                    <a:pt x="176"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5">
              <a:extLst>
                <a:ext uri="{FF2B5EF4-FFF2-40B4-BE49-F238E27FC236}">
                  <a16:creationId xmlns:a16="http://schemas.microsoft.com/office/drawing/2014/main" id="{3B90EBA0-B9C0-481F-8CBC-11C590CC6E00}"/>
                </a:ext>
              </a:extLst>
            </p:cNvPr>
            <p:cNvSpPr>
              <a:spLocks noEditPoints="1"/>
            </p:cNvSpPr>
            <p:nvPr/>
          </p:nvSpPr>
          <p:spPr bwMode="auto">
            <a:xfrm>
              <a:off x="2360" y="671"/>
              <a:ext cx="3069" cy="3186"/>
            </a:xfrm>
            <a:custGeom>
              <a:avLst/>
              <a:gdLst>
                <a:gd name="T0" fmla="*/ 1490 w 1638"/>
                <a:gd name="T1" fmla="*/ 1199 h 1699"/>
                <a:gd name="T2" fmla="*/ 1167 w 1638"/>
                <a:gd name="T3" fmla="*/ 1410 h 1699"/>
                <a:gd name="T4" fmla="*/ 1104 w 1638"/>
                <a:gd name="T5" fmla="*/ 1699 h 1699"/>
                <a:gd name="T6" fmla="*/ 670 w 1638"/>
                <a:gd name="T7" fmla="*/ 1298 h 1699"/>
                <a:gd name="T8" fmla="*/ 1123 w 1638"/>
                <a:gd name="T9" fmla="*/ 1655 h 1699"/>
                <a:gd name="T10" fmla="*/ 1151 w 1638"/>
                <a:gd name="T11" fmla="*/ 1364 h 1699"/>
                <a:gd name="T12" fmla="*/ 1446 w 1638"/>
                <a:gd name="T13" fmla="*/ 1200 h 1699"/>
                <a:gd name="T14" fmla="*/ 1465 w 1638"/>
                <a:gd name="T15" fmla="*/ 1039 h 1699"/>
                <a:gd name="T16" fmla="*/ 1465 w 1638"/>
                <a:gd name="T17" fmla="*/ 822 h 1699"/>
                <a:gd name="T18" fmla="*/ 1447 w 1638"/>
                <a:gd name="T19" fmla="*/ 617 h 1699"/>
                <a:gd name="T20" fmla="*/ 1498 w 1638"/>
                <a:gd name="T21" fmla="*/ 709 h 1699"/>
                <a:gd name="T22" fmla="*/ 1626 w 1638"/>
                <a:gd name="T23" fmla="*/ 1024 h 1699"/>
                <a:gd name="T24" fmla="*/ 487 w 1638"/>
                <a:gd name="T25" fmla="*/ 628 h 1699"/>
                <a:gd name="T26" fmla="*/ 528 w 1638"/>
                <a:gd name="T27" fmla="*/ 536 h 1699"/>
                <a:gd name="T28" fmla="*/ 621 w 1638"/>
                <a:gd name="T29" fmla="*/ 499 h 1699"/>
                <a:gd name="T30" fmla="*/ 610 w 1638"/>
                <a:gd name="T31" fmla="*/ 404 h 1699"/>
                <a:gd name="T32" fmla="*/ 666 w 1638"/>
                <a:gd name="T33" fmla="*/ 319 h 1699"/>
                <a:gd name="T34" fmla="*/ 647 w 1638"/>
                <a:gd name="T35" fmla="*/ 220 h 1699"/>
                <a:gd name="T36" fmla="*/ 588 w 1638"/>
                <a:gd name="T37" fmla="*/ 118 h 1699"/>
                <a:gd name="T38" fmla="*/ 512 w 1638"/>
                <a:gd name="T39" fmla="*/ 52 h 1699"/>
                <a:gd name="T40" fmla="*/ 414 w 1638"/>
                <a:gd name="T41" fmla="*/ 69 h 1699"/>
                <a:gd name="T42" fmla="*/ 333 w 1638"/>
                <a:gd name="T43" fmla="*/ 0 h 1699"/>
                <a:gd name="T44" fmla="*/ 252 w 1638"/>
                <a:gd name="T45" fmla="*/ 69 h 1699"/>
                <a:gd name="T46" fmla="*/ 154 w 1638"/>
                <a:gd name="T47" fmla="*/ 52 h 1699"/>
                <a:gd name="T48" fmla="*/ 78 w 1638"/>
                <a:gd name="T49" fmla="*/ 118 h 1699"/>
                <a:gd name="T50" fmla="*/ 19 w 1638"/>
                <a:gd name="T51" fmla="*/ 220 h 1699"/>
                <a:gd name="T52" fmla="*/ 0 w 1638"/>
                <a:gd name="T53" fmla="*/ 318 h 1699"/>
                <a:gd name="T54" fmla="*/ 56 w 1638"/>
                <a:gd name="T55" fmla="*/ 404 h 1699"/>
                <a:gd name="T56" fmla="*/ 45 w 1638"/>
                <a:gd name="T57" fmla="*/ 499 h 1699"/>
                <a:gd name="T58" fmla="*/ 138 w 1638"/>
                <a:gd name="T59" fmla="*/ 536 h 1699"/>
                <a:gd name="T60" fmla="*/ 179 w 1638"/>
                <a:gd name="T61" fmla="*/ 628 h 1699"/>
                <a:gd name="T62" fmla="*/ 274 w 1638"/>
                <a:gd name="T63" fmla="*/ 661 h 1699"/>
                <a:gd name="T64" fmla="*/ 392 w 1638"/>
                <a:gd name="T65" fmla="*/ 661 h 1699"/>
                <a:gd name="T66" fmla="*/ 310 w 1638"/>
                <a:gd name="T67" fmla="*/ 565 h 1699"/>
                <a:gd name="T68" fmla="*/ 234 w 1638"/>
                <a:gd name="T69" fmla="*/ 604 h 1699"/>
                <a:gd name="T70" fmla="*/ 200 w 1638"/>
                <a:gd name="T71" fmla="*/ 528 h 1699"/>
                <a:gd name="T72" fmla="*/ 96 w 1638"/>
                <a:gd name="T73" fmla="*/ 498 h 1699"/>
                <a:gd name="T74" fmla="*/ 105 w 1638"/>
                <a:gd name="T75" fmla="*/ 413 h 1699"/>
                <a:gd name="T76" fmla="*/ 91 w 1638"/>
                <a:gd name="T77" fmla="*/ 334 h 1699"/>
                <a:gd name="T78" fmla="*/ 54 w 1638"/>
                <a:gd name="T79" fmla="*/ 258 h 1699"/>
                <a:gd name="T80" fmla="*/ 141 w 1638"/>
                <a:gd name="T81" fmla="*/ 193 h 1699"/>
                <a:gd name="T82" fmla="*/ 148 w 1638"/>
                <a:gd name="T83" fmla="*/ 112 h 1699"/>
                <a:gd name="T84" fmla="*/ 233 w 1638"/>
                <a:gd name="T85" fmla="*/ 123 h 1699"/>
                <a:gd name="T86" fmla="*/ 308 w 1638"/>
                <a:gd name="T87" fmla="*/ 45 h 1699"/>
                <a:gd name="T88" fmla="*/ 381 w 1638"/>
                <a:gd name="T89" fmla="*/ 106 h 1699"/>
                <a:gd name="T90" fmla="*/ 444 w 1638"/>
                <a:gd name="T91" fmla="*/ 127 h 1699"/>
                <a:gd name="T92" fmla="*/ 537 w 1638"/>
                <a:gd name="T93" fmla="*/ 129 h 1699"/>
                <a:gd name="T94" fmla="*/ 554 w 1638"/>
                <a:gd name="T95" fmla="*/ 238 h 1699"/>
                <a:gd name="T96" fmla="*/ 617 w 1638"/>
                <a:gd name="T97" fmla="*/ 283 h 1699"/>
                <a:gd name="T98" fmla="*/ 575 w 1638"/>
                <a:gd name="T99" fmla="*/ 346 h 1699"/>
                <a:gd name="T100" fmla="*/ 594 w 1638"/>
                <a:gd name="T101" fmla="*/ 455 h 1699"/>
                <a:gd name="T102" fmla="*/ 514 w 1638"/>
                <a:gd name="T103" fmla="*/ 489 h 1699"/>
                <a:gd name="T104" fmla="*/ 455 w 1638"/>
                <a:gd name="T105" fmla="*/ 535 h 1699"/>
                <a:gd name="T106" fmla="*/ 407 w 1638"/>
                <a:gd name="T107" fmla="*/ 612 h 1699"/>
                <a:gd name="T108" fmla="*/ 511 w 1638"/>
                <a:gd name="T109" fmla="*/ 334 h 1699"/>
                <a:gd name="T110" fmla="*/ 333 w 1638"/>
                <a:gd name="T111" fmla="*/ 512 h 1699"/>
                <a:gd name="T112" fmla="*/ 333 w 1638"/>
                <a:gd name="T113" fmla="*/ 468 h 1699"/>
                <a:gd name="T114" fmla="*/ 467 w 1638"/>
                <a:gd name="T115" fmla="*/ 334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8" h="1699">
                  <a:moveTo>
                    <a:pt x="1626" y="1024"/>
                  </a:moveTo>
                  <a:cubicBezTo>
                    <a:pt x="1618" y="1042"/>
                    <a:pt x="1577" y="1086"/>
                    <a:pt x="1486" y="1084"/>
                  </a:cubicBezTo>
                  <a:cubicBezTo>
                    <a:pt x="1488" y="1111"/>
                    <a:pt x="1490" y="1154"/>
                    <a:pt x="1490" y="1199"/>
                  </a:cubicBezTo>
                  <a:cubicBezTo>
                    <a:pt x="1490" y="1335"/>
                    <a:pt x="1473" y="1369"/>
                    <a:pt x="1459" y="1384"/>
                  </a:cubicBezTo>
                  <a:cubicBezTo>
                    <a:pt x="1445" y="1398"/>
                    <a:pt x="1412" y="1417"/>
                    <a:pt x="1282" y="1416"/>
                  </a:cubicBezTo>
                  <a:cubicBezTo>
                    <a:pt x="1246" y="1415"/>
                    <a:pt x="1198" y="1413"/>
                    <a:pt x="1167" y="1410"/>
                  </a:cubicBezTo>
                  <a:cubicBezTo>
                    <a:pt x="1167" y="1676"/>
                    <a:pt x="1167" y="1676"/>
                    <a:pt x="1167" y="1676"/>
                  </a:cubicBezTo>
                  <a:cubicBezTo>
                    <a:pt x="1167" y="1688"/>
                    <a:pt x="1158" y="1698"/>
                    <a:pt x="1147" y="1698"/>
                  </a:cubicBezTo>
                  <a:cubicBezTo>
                    <a:pt x="1144" y="1698"/>
                    <a:pt x="1128" y="1699"/>
                    <a:pt x="1104" y="1699"/>
                  </a:cubicBezTo>
                  <a:cubicBezTo>
                    <a:pt x="1016" y="1699"/>
                    <a:pt x="813" y="1690"/>
                    <a:pt x="680" y="1609"/>
                  </a:cubicBezTo>
                  <a:cubicBezTo>
                    <a:pt x="674" y="1606"/>
                    <a:pt x="670" y="1598"/>
                    <a:pt x="670" y="1591"/>
                  </a:cubicBezTo>
                  <a:cubicBezTo>
                    <a:pt x="670" y="1298"/>
                    <a:pt x="670" y="1298"/>
                    <a:pt x="670" y="1298"/>
                  </a:cubicBezTo>
                  <a:cubicBezTo>
                    <a:pt x="686" y="1311"/>
                    <a:pt x="701" y="1321"/>
                    <a:pt x="714" y="1327"/>
                  </a:cubicBezTo>
                  <a:cubicBezTo>
                    <a:pt x="714" y="1578"/>
                    <a:pt x="714" y="1578"/>
                    <a:pt x="714" y="1578"/>
                  </a:cubicBezTo>
                  <a:cubicBezTo>
                    <a:pt x="848" y="1652"/>
                    <a:pt x="1057" y="1656"/>
                    <a:pt x="1123" y="1655"/>
                  </a:cubicBezTo>
                  <a:cubicBezTo>
                    <a:pt x="1123" y="1385"/>
                    <a:pt x="1123" y="1385"/>
                    <a:pt x="1123" y="1385"/>
                  </a:cubicBezTo>
                  <a:cubicBezTo>
                    <a:pt x="1123" y="1378"/>
                    <a:pt x="1127" y="1371"/>
                    <a:pt x="1133" y="1367"/>
                  </a:cubicBezTo>
                  <a:cubicBezTo>
                    <a:pt x="1139" y="1364"/>
                    <a:pt x="1145" y="1363"/>
                    <a:pt x="1151" y="1364"/>
                  </a:cubicBezTo>
                  <a:cubicBezTo>
                    <a:pt x="1160" y="1366"/>
                    <a:pt x="1222" y="1371"/>
                    <a:pt x="1288" y="1372"/>
                  </a:cubicBezTo>
                  <a:cubicBezTo>
                    <a:pt x="1406" y="1372"/>
                    <a:pt x="1425" y="1355"/>
                    <a:pt x="1427" y="1354"/>
                  </a:cubicBezTo>
                  <a:cubicBezTo>
                    <a:pt x="1429" y="1352"/>
                    <a:pt x="1446" y="1331"/>
                    <a:pt x="1446" y="1200"/>
                  </a:cubicBezTo>
                  <a:cubicBezTo>
                    <a:pt x="1446" y="1129"/>
                    <a:pt x="1441" y="1063"/>
                    <a:pt x="1440" y="1062"/>
                  </a:cubicBezTo>
                  <a:cubicBezTo>
                    <a:pt x="1440" y="1056"/>
                    <a:pt x="1442" y="1049"/>
                    <a:pt x="1447" y="1045"/>
                  </a:cubicBezTo>
                  <a:cubicBezTo>
                    <a:pt x="1452" y="1040"/>
                    <a:pt x="1458" y="1038"/>
                    <a:pt x="1465" y="1039"/>
                  </a:cubicBezTo>
                  <a:cubicBezTo>
                    <a:pt x="1543" y="1047"/>
                    <a:pt x="1577" y="1019"/>
                    <a:pt x="1584" y="1008"/>
                  </a:cubicBezTo>
                  <a:cubicBezTo>
                    <a:pt x="1583" y="999"/>
                    <a:pt x="1571" y="971"/>
                    <a:pt x="1541" y="942"/>
                  </a:cubicBezTo>
                  <a:cubicBezTo>
                    <a:pt x="1499" y="900"/>
                    <a:pt x="1473" y="840"/>
                    <a:pt x="1465" y="822"/>
                  </a:cubicBezTo>
                  <a:cubicBezTo>
                    <a:pt x="1457" y="803"/>
                    <a:pt x="1456" y="765"/>
                    <a:pt x="1455" y="710"/>
                  </a:cubicBezTo>
                  <a:cubicBezTo>
                    <a:pt x="1454" y="689"/>
                    <a:pt x="1453" y="668"/>
                    <a:pt x="1452" y="654"/>
                  </a:cubicBezTo>
                  <a:cubicBezTo>
                    <a:pt x="1451" y="643"/>
                    <a:pt x="1449" y="631"/>
                    <a:pt x="1447" y="617"/>
                  </a:cubicBezTo>
                  <a:cubicBezTo>
                    <a:pt x="1461" y="604"/>
                    <a:pt x="1474" y="591"/>
                    <a:pt x="1485" y="578"/>
                  </a:cubicBezTo>
                  <a:cubicBezTo>
                    <a:pt x="1490" y="603"/>
                    <a:pt x="1494" y="631"/>
                    <a:pt x="1496" y="650"/>
                  </a:cubicBezTo>
                  <a:cubicBezTo>
                    <a:pt x="1497" y="666"/>
                    <a:pt x="1498" y="687"/>
                    <a:pt x="1498" y="709"/>
                  </a:cubicBezTo>
                  <a:cubicBezTo>
                    <a:pt x="1499" y="744"/>
                    <a:pt x="1501" y="792"/>
                    <a:pt x="1506" y="805"/>
                  </a:cubicBezTo>
                  <a:cubicBezTo>
                    <a:pt x="1519" y="838"/>
                    <a:pt x="1543" y="882"/>
                    <a:pt x="1572" y="911"/>
                  </a:cubicBezTo>
                  <a:cubicBezTo>
                    <a:pt x="1607" y="945"/>
                    <a:pt x="1638" y="995"/>
                    <a:pt x="1626" y="1024"/>
                  </a:cubicBezTo>
                  <a:close/>
                  <a:moveTo>
                    <a:pt x="405" y="658"/>
                  </a:moveTo>
                  <a:cubicBezTo>
                    <a:pt x="424" y="653"/>
                    <a:pt x="446" y="646"/>
                    <a:pt x="446" y="645"/>
                  </a:cubicBezTo>
                  <a:cubicBezTo>
                    <a:pt x="447" y="645"/>
                    <a:pt x="469" y="637"/>
                    <a:pt x="487" y="628"/>
                  </a:cubicBezTo>
                  <a:cubicBezTo>
                    <a:pt x="498" y="622"/>
                    <a:pt x="498" y="622"/>
                    <a:pt x="498" y="622"/>
                  </a:cubicBezTo>
                  <a:cubicBezTo>
                    <a:pt x="499" y="559"/>
                    <a:pt x="499" y="559"/>
                    <a:pt x="499" y="559"/>
                  </a:cubicBezTo>
                  <a:cubicBezTo>
                    <a:pt x="509" y="552"/>
                    <a:pt x="519" y="545"/>
                    <a:pt x="528" y="536"/>
                  </a:cubicBezTo>
                  <a:cubicBezTo>
                    <a:pt x="589" y="546"/>
                    <a:pt x="589" y="546"/>
                    <a:pt x="589" y="546"/>
                  </a:cubicBezTo>
                  <a:cubicBezTo>
                    <a:pt x="597" y="536"/>
                    <a:pt x="597" y="536"/>
                    <a:pt x="597" y="536"/>
                  </a:cubicBezTo>
                  <a:cubicBezTo>
                    <a:pt x="609" y="520"/>
                    <a:pt x="620" y="500"/>
                    <a:pt x="621" y="499"/>
                  </a:cubicBezTo>
                  <a:cubicBezTo>
                    <a:pt x="621" y="498"/>
                    <a:pt x="633" y="478"/>
                    <a:pt x="640" y="460"/>
                  </a:cubicBezTo>
                  <a:cubicBezTo>
                    <a:pt x="646" y="448"/>
                    <a:pt x="646" y="448"/>
                    <a:pt x="646" y="448"/>
                  </a:cubicBezTo>
                  <a:cubicBezTo>
                    <a:pt x="610" y="404"/>
                    <a:pt x="610" y="404"/>
                    <a:pt x="610" y="404"/>
                  </a:cubicBezTo>
                  <a:cubicBezTo>
                    <a:pt x="614" y="390"/>
                    <a:pt x="617" y="375"/>
                    <a:pt x="618" y="360"/>
                  </a:cubicBezTo>
                  <a:cubicBezTo>
                    <a:pt x="666" y="332"/>
                    <a:pt x="666" y="332"/>
                    <a:pt x="666" y="332"/>
                  </a:cubicBezTo>
                  <a:cubicBezTo>
                    <a:pt x="666" y="319"/>
                    <a:pt x="666" y="319"/>
                    <a:pt x="666" y="319"/>
                  </a:cubicBezTo>
                  <a:cubicBezTo>
                    <a:pt x="664" y="299"/>
                    <a:pt x="660" y="276"/>
                    <a:pt x="660" y="275"/>
                  </a:cubicBezTo>
                  <a:cubicBezTo>
                    <a:pt x="660" y="274"/>
                    <a:pt x="656" y="252"/>
                    <a:pt x="650" y="233"/>
                  </a:cubicBezTo>
                  <a:cubicBezTo>
                    <a:pt x="647" y="220"/>
                    <a:pt x="647" y="220"/>
                    <a:pt x="647" y="220"/>
                  </a:cubicBezTo>
                  <a:cubicBezTo>
                    <a:pt x="588" y="209"/>
                    <a:pt x="588" y="209"/>
                    <a:pt x="588" y="209"/>
                  </a:cubicBezTo>
                  <a:cubicBezTo>
                    <a:pt x="582" y="197"/>
                    <a:pt x="575" y="186"/>
                    <a:pt x="567" y="176"/>
                  </a:cubicBezTo>
                  <a:cubicBezTo>
                    <a:pt x="588" y="118"/>
                    <a:pt x="588" y="118"/>
                    <a:pt x="588" y="118"/>
                  </a:cubicBezTo>
                  <a:cubicBezTo>
                    <a:pt x="579" y="108"/>
                    <a:pt x="579" y="108"/>
                    <a:pt x="579" y="108"/>
                  </a:cubicBezTo>
                  <a:cubicBezTo>
                    <a:pt x="565" y="94"/>
                    <a:pt x="547" y="79"/>
                    <a:pt x="547" y="78"/>
                  </a:cubicBezTo>
                  <a:cubicBezTo>
                    <a:pt x="546" y="78"/>
                    <a:pt x="528" y="63"/>
                    <a:pt x="512" y="52"/>
                  </a:cubicBezTo>
                  <a:cubicBezTo>
                    <a:pt x="501" y="45"/>
                    <a:pt x="501" y="45"/>
                    <a:pt x="501" y="45"/>
                  </a:cubicBezTo>
                  <a:cubicBezTo>
                    <a:pt x="441" y="78"/>
                    <a:pt x="441" y="78"/>
                    <a:pt x="441" y="78"/>
                  </a:cubicBezTo>
                  <a:cubicBezTo>
                    <a:pt x="432" y="75"/>
                    <a:pt x="423" y="72"/>
                    <a:pt x="414" y="69"/>
                  </a:cubicBezTo>
                  <a:cubicBezTo>
                    <a:pt x="390" y="4"/>
                    <a:pt x="390" y="4"/>
                    <a:pt x="390" y="4"/>
                  </a:cubicBezTo>
                  <a:cubicBezTo>
                    <a:pt x="377" y="3"/>
                    <a:pt x="377" y="3"/>
                    <a:pt x="377" y="3"/>
                  </a:cubicBezTo>
                  <a:cubicBezTo>
                    <a:pt x="357" y="0"/>
                    <a:pt x="334" y="0"/>
                    <a:pt x="333" y="0"/>
                  </a:cubicBezTo>
                  <a:cubicBezTo>
                    <a:pt x="332" y="0"/>
                    <a:pt x="309" y="0"/>
                    <a:pt x="290" y="3"/>
                  </a:cubicBezTo>
                  <a:cubicBezTo>
                    <a:pt x="276" y="4"/>
                    <a:pt x="276" y="4"/>
                    <a:pt x="276" y="4"/>
                  </a:cubicBezTo>
                  <a:cubicBezTo>
                    <a:pt x="252" y="69"/>
                    <a:pt x="252" y="69"/>
                    <a:pt x="252" y="69"/>
                  </a:cubicBezTo>
                  <a:cubicBezTo>
                    <a:pt x="243" y="72"/>
                    <a:pt x="234" y="75"/>
                    <a:pt x="225" y="78"/>
                  </a:cubicBezTo>
                  <a:cubicBezTo>
                    <a:pt x="165" y="45"/>
                    <a:pt x="165" y="45"/>
                    <a:pt x="165" y="45"/>
                  </a:cubicBezTo>
                  <a:cubicBezTo>
                    <a:pt x="154" y="52"/>
                    <a:pt x="154" y="52"/>
                    <a:pt x="154" y="52"/>
                  </a:cubicBezTo>
                  <a:cubicBezTo>
                    <a:pt x="138" y="63"/>
                    <a:pt x="120" y="77"/>
                    <a:pt x="119" y="78"/>
                  </a:cubicBezTo>
                  <a:cubicBezTo>
                    <a:pt x="119" y="79"/>
                    <a:pt x="101" y="93"/>
                    <a:pt x="88" y="108"/>
                  </a:cubicBezTo>
                  <a:cubicBezTo>
                    <a:pt x="78" y="118"/>
                    <a:pt x="78" y="118"/>
                    <a:pt x="78" y="118"/>
                  </a:cubicBezTo>
                  <a:cubicBezTo>
                    <a:pt x="99" y="176"/>
                    <a:pt x="99" y="176"/>
                    <a:pt x="99" y="176"/>
                  </a:cubicBezTo>
                  <a:cubicBezTo>
                    <a:pt x="91" y="186"/>
                    <a:pt x="84" y="197"/>
                    <a:pt x="78" y="209"/>
                  </a:cubicBezTo>
                  <a:cubicBezTo>
                    <a:pt x="19" y="220"/>
                    <a:pt x="19" y="220"/>
                    <a:pt x="19" y="220"/>
                  </a:cubicBezTo>
                  <a:cubicBezTo>
                    <a:pt x="16" y="232"/>
                    <a:pt x="16" y="232"/>
                    <a:pt x="16" y="232"/>
                  </a:cubicBezTo>
                  <a:cubicBezTo>
                    <a:pt x="10" y="251"/>
                    <a:pt x="6" y="274"/>
                    <a:pt x="6" y="275"/>
                  </a:cubicBezTo>
                  <a:cubicBezTo>
                    <a:pt x="5" y="276"/>
                    <a:pt x="1" y="298"/>
                    <a:pt x="0" y="318"/>
                  </a:cubicBezTo>
                  <a:cubicBezTo>
                    <a:pt x="0" y="332"/>
                    <a:pt x="0" y="332"/>
                    <a:pt x="0" y="332"/>
                  </a:cubicBezTo>
                  <a:cubicBezTo>
                    <a:pt x="48" y="360"/>
                    <a:pt x="48" y="360"/>
                    <a:pt x="48" y="360"/>
                  </a:cubicBezTo>
                  <a:cubicBezTo>
                    <a:pt x="50" y="375"/>
                    <a:pt x="52" y="390"/>
                    <a:pt x="56" y="404"/>
                  </a:cubicBezTo>
                  <a:cubicBezTo>
                    <a:pt x="20" y="448"/>
                    <a:pt x="20" y="448"/>
                    <a:pt x="20" y="448"/>
                  </a:cubicBezTo>
                  <a:cubicBezTo>
                    <a:pt x="25" y="460"/>
                    <a:pt x="25" y="460"/>
                    <a:pt x="25" y="460"/>
                  </a:cubicBezTo>
                  <a:cubicBezTo>
                    <a:pt x="33" y="478"/>
                    <a:pt x="44" y="498"/>
                    <a:pt x="45" y="499"/>
                  </a:cubicBezTo>
                  <a:cubicBezTo>
                    <a:pt x="45" y="500"/>
                    <a:pt x="57" y="520"/>
                    <a:pt x="69" y="535"/>
                  </a:cubicBezTo>
                  <a:cubicBezTo>
                    <a:pt x="77" y="546"/>
                    <a:pt x="77" y="546"/>
                    <a:pt x="77" y="546"/>
                  </a:cubicBezTo>
                  <a:cubicBezTo>
                    <a:pt x="138" y="536"/>
                    <a:pt x="138" y="536"/>
                    <a:pt x="138" y="536"/>
                  </a:cubicBezTo>
                  <a:cubicBezTo>
                    <a:pt x="147" y="544"/>
                    <a:pt x="156" y="552"/>
                    <a:pt x="166" y="559"/>
                  </a:cubicBezTo>
                  <a:cubicBezTo>
                    <a:pt x="167" y="622"/>
                    <a:pt x="167" y="622"/>
                    <a:pt x="167" y="622"/>
                  </a:cubicBezTo>
                  <a:cubicBezTo>
                    <a:pt x="179" y="628"/>
                    <a:pt x="179" y="628"/>
                    <a:pt x="179" y="628"/>
                  </a:cubicBezTo>
                  <a:cubicBezTo>
                    <a:pt x="197" y="637"/>
                    <a:pt x="218" y="645"/>
                    <a:pt x="219" y="645"/>
                  </a:cubicBezTo>
                  <a:cubicBezTo>
                    <a:pt x="220" y="645"/>
                    <a:pt x="242" y="653"/>
                    <a:pt x="261" y="658"/>
                  </a:cubicBezTo>
                  <a:cubicBezTo>
                    <a:pt x="274" y="661"/>
                    <a:pt x="274" y="661"/>
                    <a:pt x="274" y="661"/>
                  </a:cubicBezTo>
                  <a:cubicBezTo>
                    <a:pt x="317" y="610"/>
                    <a:pt x="317" y="610"/>
                    <a:pt x="317" y="610"/>
                  </a:cubicBezTo>
                  <a:cubicBezTo>
                    <a:pt x="328" y="611"/>
                    <a:pt x="338" y="611"/>
                    <a:pt x="348" y="610"/>
                  </a:cubicBezTo>
                  <a:cubicBezTo>
                    <a:pt x="392" y="661"/>
                    <a:pt x="392" y="661"/>
                    <a:pt x="392" y="661"/>
                  </a:cubicBezTo>
                  <a:lnTo>
                    <a:pt x="405" y="658"/>
                  </a:lnTo>
                  <a:close/>
                  <a:moveTo>
                    <a:pt x="356" y="565"/>
                  </a:moveTo>
                  <a:cubicBezTo>
                    <a:pt x="340" y="567"/>
                    <a:pt x="325" y="567"/>
                    <a:pt x="310" y="565"/>
                  </a:cubicBezTo>
                  <a:cubicBezTo>
                    <a:pt x="299" y="564"/>
                    <a:pt x="299" y="564"/>
                    <a:pt x="299" y="564"/>
                  </a:cubicBezTo>
                  <a:cubicBezTo>
                    <a:pt x="258" y="612"/>
                    <a:pt x="258" y="612"/>
                    <a:pt x="258" y="612"/>
                  </a:cubicBezTo>
                  <a:cubicBezTo>
                    <a:pt x="245" y="608"/>
                    <a:pt x="234" y="604"/>
                    <a:pt x="234" y="604"/>
                  </a:cubicBezTo>
                  <a:cubicBezTo>
                    <a:pt x="234" y="604"/>
                    <a:pt x="223" y="600"/>
                    <a:pt x="211" y="594"/>
                  </a:cubicBezTo>
                  <a:cubicBezTo>
                    <a:pt x="210" y="535"/>
                    <a:pt x="210" y="535"/>
                    <a:pt x="210" y="535"/>
                  </a:cubicBezTo>
                  <a:cubicBezTo>
                    <a:pt x="200" y="528"/>
                    <a:pt x="200" y="528"/>
                    <a:pt x="200" y="528"/>
                  </a:cubicBezTo>
                  <a:cubicBezTo>
                    <a:pt x="186" y="519"/>
                    <a:pt x="172" y="509"/>
                    <a:pt x="160" y="497"/>
                  </a:cubicBezTo>
                  <a:cubicBezTo>
                    <a:pt x="152" y="489"/>
                    <a:pt x="152" y="489"/>
                    <a:pt x="152" y="489"/>
                  </a:cubicBezTo>
                  <a:cubicBezTo>
                    <a:pt x="96" y="498"/>
                    <a:pt x="96" y="498"/>
                    <a:pt x="96" y="498"/>
                  </a:cubicBezTo>
                  <a:cubicBezTo>
                    <a:pt x="89" y="487"/>
                    <a:pt x="83" y="477"/>
                    <a:pt x="83" y="477"/>
                  </a:cubicBezTo>
                  <a:cubicBezTo>
                    <a:pt x="83" y="477"/>
                    <a:pt x="77" y="466"/>
                    <a:pt x="71" y="455"/>
                  </a:cubicBezTo>
                  <a:cubicBezTo>
                    <a:pt x="105" y="413"/>
                    <a:pt x="105" y="413"/>
                    <a:pt x="105" y="413"/>
                  </a:cubicBezTo>
                  <a:cubicBezTo>
                    <a:pt x="101" y="402"/>
                    <a:pt x="101" y="402"/>
                    <a:pt x="101" y="402"/>
                  </a:cubicBezTo>
                  <a:cubicBezTo>
                    <a:pt x="96" y="384"/>
                    <a:pt x="92" y="365"/>
                    <a:pt x="91" y="346"/>
                  </a:cubicBezTo>
                  <a:cubicBezTo>
                    <a:pt x="91" y="334"/>
                    <a:pt x="91" y="334"/>
                    <a:pt x="91" y="334"/>
                  </a:cubicBezTo>
                  <a:cubicBezTo>
                    <a:pt x="45" y="308"/>
                    <a:pt x="45" y="308"/>
                    <a:pt x="45" y="308"/>
                  </a:cubicBezTo>
                  <a:cubicBezTo>
                    <a:pt x="47" y="294"/>
                    <a:pt x="49" y="283"/>
                    <a:pt x="49" y="283"/>
                  </a:cubicBezTo>
                  <a:cubicBezTo>
                    <a:pt x="49" y="282"/>
                    <a:pt x="51" y="271"/>
                    <a:pt x="54" y="258"/>
                  </a:cubicBezTo>
                  <a:cubicBezTo>
                    <a:pt x="108" y="248"/>
                    <a:pt x="108" y="248"/>
                    <a:pt x="108" y="248"/>
                  </a:cubicBezTo>
                  <a:cubicBezTo>
                    <a:pt x="113" y="238"/>
                    <a:pt x="113" y="238"/>
                    <a:pt x="113" y="238"/>
                  </a:cubicBezTo>
                  <a:cubicBezTo>
                    <a:pt x="120" y="222"/>
                    <a:pt x="130" y="207"/>
                    <a:pt x="141" y="193"/>
                  </a:cubicBezTo>
                  <a:cubicBezTo>
                    <a:pt x="148" y="184"/>
                    <a:pt x="148" y="184"/>
                    <a:pt x="148" y="184"/>
                  </a:cubicBezTo>
                  <a:cubicBezTo>
                    <a:pt x="129" y="129"/>
                    <a:pt x="129" y="129"/>
                    <a:pt x="129" y="129"/>
                  </a:cubicBezTo>
                  <a:cubicBezTo>
                    <a:pt x="138" y="120"/>
                    <a:pt x="148" y="112"/>
                    <a:pt x="148" y="112"/>
                  </a:cubicBezTo>
                  <a:cubicBezTo>
                    <a:pt x="148" y="112"/>
                    <a:pt x="157" y="104"/>
                    <a:pt x="168" y="96"/>
                  </a:cubicBezTo>
                  <a:cubicBezTo>
                    <a:pt x="223" y="127"/>
                    <a:pt x="223" y="127"/>
                    <a:pt x="223" y="127"/>
                  </a:cubicBezTo>
                  <a:cubicBezTo>
                    <a:pt x="233" y="123"/>
                    <a:pt x="233" y="123"/>
                    <a:pt x="233" y="123"/>
                  </a:cubicBezTo>
                  <a:cubicBezTo>
                    <a:pt x="246" y="117"/>
                    <a:pt x="260" y="112"/>
                    <a:pt x="274" y="109"/>
                  </a:cubicBezTo>
                  <a:cubicBezTo>
                    <a:pt x="285" y="106"/>
                    <a:pt x="285" y="106"/>
                    <a:pt x="285" y="106"/>
                  </a:cubicBezTo>
                  <a:cubicBezTo>
                    <a:pt x="308" y="45"/>
                    <a:pt x="308" y="45"/>
                    <a:pt x="308" y="45"/>
                  </a:cubicBezTo>
                  <a:cubicBezTo>
                    <a:pt x="321" y="44"/>
                    <a:pt x="333" y="44"/>
                    <a:pt x="333" y="44"/>
                  </a:cubicBezTo>
                  <a:cubicBezTo>
                    <a:pt x="333" y="44"/>
                    <a:pt x="345" y="44"/>
                    <a:pt x="358" y="45"/>
                  </a:cubicBezTo>
                  <a:cubicBezTo>
                    <a:pt x="381" y="106"/>
                    <a:pt x="381" y="106"/>
                    <a:pt x="381" y="106"/>
                  </a:cubicBezTo>
                  <a:cubicBezTo>
                    <a:pt x="393" y="109"/>
                    <a:pt x="393" y="109"/>
                    <a:pt x="393" y="109"/>
                  </a:cubicBezTo>
                  <a:cubicBezTo>
                    <a:pt x="407" y="112"/>
                    <a:pt x="420" y="117"/>
                    <a:pt x="434" y="123"/>
                  </a:cubicBezTo>
                  <a:cubicBezTo>
                    <a:pt x="444" y="127"/>
                    <a:pt x="444" y="127"/>
                    <a:pt x="444" y="127"/>
                  </a:cubicBezTo>
                  <a:cubicBezTo>
                    <a:pt x="499" y="96"/>
                    <a:pt x="499" y="96"/>
                    <a:pt x="499" y="96"/>
                  </a:cubicBezTo>
                  <a:cubicBezTo>
                    <a:pt x="509" y="104"/>
                    <a:pt x="518" y="112"/>
                    <a:pt x="518" y="112"/>
                  </a:cubicBezTo>
                  <a:cubicBezTo>
                    <a:pt x="519" y="112"/>
                    <a:pt x="528" y="120"/>
                    <a:pt x="537" y="129"/>
                  </a:cubicBezTo>
                  <a:cubicBezTo>
                    <a:pt x="518" y="184"/>
                    <a:pt x="518" y="184"/>
                    <a:pt x="518" y="184"/>
                  </a:cubicBezTo>
                  <a:cubicBezTo>
                    <a:pt x="526" y="193"/>
                    <a:pt x="526" y="193"/>
                    <a:pt x="526" y="193"/>
                  </a:cubicBezTo>
                  <a:cubicBezTo>
                    <a:pt x="537" y="207"/>
                    <a:pt x="546" y="222"/>
                    <a:pt x="554" y="238"/>
                  </a:cubicBezTo>
                  <a:cubicBezTo>
                    <a:pt x="558" y="248"/>
                    <a:pt x="558" y="248"/>
                    <a:pt x="558" y="248"/>
                  </a:cubicBezTo>
                  <a:cubicBezTo>
                    <a:pt x="612" y="258"/>
                    <a:pt x="612" y="258"/>
                    <a:pt x="612" y="258"/>
                  </a:cubicBezTo>
                  <a:cubicBezTo>
                    <a:pt x="615" y="271"/>
                    <a:pt x="617" y="283"/>
                    <a:pt x="617" y="283"/>
                  </a:cubicBezTo>
                  <a:cubicBezTo>
                    <a:pt x="617" y="283"/>
                    <a:pt x="619" y="295"/>
                    <a:pt x="620" y="308"/>
                  </a:cubicBezTo>
                  <a:cubicBezTo>
                    <a:pt x="576" y="334"/>
                    <a:pt x="576" y="334"/>
                    <a:pt x="576" y="334"/>
                  </a:cubicBezTo>
                  <a:cubicBezTo>
                    <a:pt x="575" y="346"/>
                    <a:pt x="575" y="346"/>
                    <a:pt x="575" y="346"/>
                  </a:cubicBezTo>
                  <a:cubicBezTo>
                    <a:pt x="574" y="365"/>
                    <a:pt x="570" y="384"/>
                    <a:pt x="565" y="403"/>
                  </a:cubicBezTo>
                  <a:cubicBezTo>
                    <a:pt x="561" y="414"/>
                    <a:pt x="561" y="414"/>
                    <a:pt x="561" y="414"/>
                  </a:cubicBezTo>
                  <a:cubicBezTo>
                    <a:pt x="594" y="455"/>
                    <a:pt x="594" y="455"/>
                    <a:pt x="594" y="455"/>
                  </a:cubicBezTo>
                  <a:cubicBezTo>
                    <a:pt x="589" y="467"/>
                    <a:pt x="583" y="477"/>
                    <a:pt x="583" y="477"/>
                  </a:cubicBezTo>
                  <a:cubicBezTo>
                    <a:pt x="583" y="477"/>
                    <a:pt x="577" y="488"/>
                    <a:pt x="569" y="499"/>
                  </a:cubicBezTo>
                  <a:cubicBezTo>
                    <a:pt x="514" y="489"/>
                    <a:pt x="514" y="489"/>
                    <a:pt x="514" y="489"/>
                  </a:cubicBezTo>
                  <a:cubicBezTo>
                    <a:pt x="506" y="497"/>
                    <a:pt x="506" y="497"/>
                    <a:pt x="506" y="497"/>
                  </a:cubicBezTo>
                  <a:cubicBezTo>
                    <a:pt x="493" y="509"/>
                    <a:pt x="480" y="519"/>
                    <a:pt x="466" y="529"/>
                  </a:cubicBezTo>
                  <a:cubicBezTo>
                    <a:pt x="455" y="535"/>
                    <a:pt x="455" y="535"/>
                    <a:pt x="455" y="535"/>
                  </a:cubicBezTo>
                  <a:cubicBezTo>
                    <a:pt x="455" y="594"/>
                    <a:pt x="455" y="594"/>
                    <a:pt x="455" y="594"/>
                  </a:cubicBezTo>
                  <a:cubicBezTo>
                    <a:pt x="443" y="600"/>
                    <a:pt x="432" y="604"/>
                    <a:pt x="431" y="604"/>
                  </a:cubicBezTo>
                  <a:cubicBezTo>
                    <a:pt x="431" y="604"/>
                    <a:pt x="420" y="608"/>
                    <a:pt x="407" y="612"/>
                  </a:cubicBezTo>
                  <a:cubicBezTo>
                    <a:pt x="367" y="564"/>
                    <a:pt x="367" y="564"/>
                    <a:pt x="367" y="564"/>
                  </a:cubicBezTo>
                  <a:lnTo>
                    <a:pt x="356" y="565"/>
                  </a:lnTo>
                  <a:close/>
                  <a:moveTo>
                    <a:pt x="511" y="334"/>
                  </a:moveTo>
                  <a:cubicBezTo>
                    <a:pt x="511" y="236"/>
                    <a:pt x="431" y="156"/>
                    <a:pt x="333" y="156"/>
                  </a:cubicBezTo>
                  <a:cubicBezTo>
                    <a:pt x="235" y="156"/>
                    <a:pt x="155" y="236"/>
                    <a:pt x="155" y="334"/>
                  </a:cubicBezTo>
                  <a:cubicBezTo>
                    <a:pt x="155" y="432"/>
                    <a:pt x="235" y="512"/>
                    <a:pt x="333" y="512"/>
                  </a:cubicBezTo>
                  <a:cubicBezTo>
                    <a:pt x="431" y="512"/>
                    <a:pt x="511" y="432"/>
                    <a:pt x="511" y="334"/>
                  </a:cubicBezTo>
                  <a:close/>
                  <a:moveTo>
                    <a:pt x="467" y="334"/>
                  </a:moveTo>
                  <a:cubicBezTo>
                    <a:pt x="467" y="408"/>
                    <a:pt x="407" y="468"/>
                    <a:pt x="333" y="468"/>
                  </a:cubicBezTo>
                  <a:cubicBezTo>
                    <a:pt x="259" y="468"/>
                    <a:pt x="199" y="408"/>
                    <a:pt x="199" y="334"/>
                  </a:cubicBezTo>
                  <a:cubicBezTo>
                    <a:pt x="199" y="260"/>
                    <a:pt x="259" y="200"/>
                    <a:pt x="333" y="200"/>
                  </a:cubicBezTo>
                  <a:cubicBezTo>
                    <a:pt x="407" y="200"/>
                    <a:pt x="467" y="260"/>
                    <a:pt x="467" y="3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5" name="bcgIcons_WorldIssues">
            <a:extLst>
              <a:ext uri="{FF2B5EF4-FFF2-40B4-BE49-F238E27FC236}">
                <a16:creationId xmlns:a16="http://schemas.microsoft.com/office/drawing/2014/main" id="{93266FDF-BAE3-4D05-B06B-FE1003CD9EBD}"/>
              </a:ext>
            </a:extLst>
          </p:cNvPr>
          <p:cNvGrpSpPr>
            <a:grpSpLocks noChangeAspect="1"/>
          </p:cNvGrpSpPr>
          <p:nvPr/>
        </p:nvGrpSpPr>
        <p:grpSpPr bwMode="auto">
          <a:xfrm>
            <a:off x="7392144" y="1898612"/>
            <a:ext cx="805374" cy="806315"/>
            <a:chOff x="2128" y="448"/>
            <a:chExt cx="3424" cy="3428"/>
          </a:xfrm>
          <a:solidFill>
            <a:schemeClr val="tx2"/>
          </a:solidFill>
        </p:grpSpPr>
        <p:sp>
          <p:nvSpPr>
            <p:cNvPr id="77" name="Freeform 35">
              <a:extLst>
                <a:ext uri="{FF2B5EF4-FFF2-40B4-BE49-F238E27FC236}">
                  <a16:creationId xmlns:a16="http://schemas.microsoft.com/office/drawing/2014/main" id="{0B868F7B-E3D8-47A0-BF3C-8F9957ECC4A3}"/>
                </a:ext>
              </a:extLst>
            </p:cNvPr>
            <p:cNvSpPr>
              <a:spLocks noEditPoints="1"/>
            </p:cNvSpPr>
            <p:nvPr/>
          </p:nvSpPr>
          <p:spPr bwMode="auto">
            <a:xfrm>
              <a:off x="2128" y="448"/>
              <a:ext cx="3424" cy="3428"/>
            </a:xfrm>
            <a:custGeom>
              <a:avLst/>
              <a:gdLst>
                <a:gd name="T0" fmla="*/ 914 w 1828"/>
                <a:gd name="T1" fmla="*/ 1828 h 1828"/>
                <a:gd name="T2" fmla="*/ 268 w 1828"/>
                <a:gd name="T3" fmla="*/ 1560 h 1828"/>
                <a:gd name="T4" fmla="*/ 0 w 1828"/>
                <a:gd name="T5" fmla="*/ 914 h 1828"/>
                <a:gd name="T6" fmla="*/ 268 w 1828"/>
                <a:gd name="T7" fmla="*/ 268 h 1828"/>
                <a:gd name="T8" fmla="*/ 914 w 1828"/>
                <a:gd name="T9" fmla="*/ 0 h 1828"/>
                <a:gd name="T10" fmla="*/ 1560 w 1828"/>
                <a:gd name="T11" fmla="*/ 268 h 1828"/>
                <a:gd name="T12" fmla="*/ 1828 w 1828"/>
                <a:gd name="T13" fmla="*/ 914 h 1828"/>
                <a:gd name="T14" fmla="*/ 1560 w 1828"/>
                <a:gd name="T15" fmla="*/ 1560 h 1828"/>
                <a:gd name="T16" fmla="*/ 914 w 1828"/>
                <a:gd name="T17" fmla="*/ 1828 h 1828"/>
                <a:gd name="T18" fmla="*/ 914 w 1828"/>
                <a:gd name="T19" fmla="*/ 44 h 1828"/>
                <a:gd name="T20" fmla="*/ 44 w 1828"/>
                <a:gd name="T21" fmla="*/ 914 h 1828"/>
                <a:gd name="T22" fmla="*/ 914 w 1828"/>
                <a:gd name="T23" fmla="*/ 1784 h 1828"/>
                <a:gd name="T24" fmla="*/ 1784 w 1828"/>
                <a:gd name="T25" fmla="*/ 914 h 1828"/>
                <a:gd name="T26" fmla="*/ 914 w 1828"/>
                <a:gd name="T27" fmla="*/ 44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8" name="Freeform 36">
              <a:extLst>
                <a:ext uri="{FF2B5EF4-FFF2-40B4-BE49-F238E27FC236}">
                  <a16:creationId xmlns:a16="http://schemas.microsoft.com/office/drawing/2014/main" id="{33AAA662-C334-4434-A9AB-0A31D081E3E8}"/>
                </a:ext>
              </a:extLst>
            </p:cNvPr>
            <p:cNvSpPr>
              <a:spLocks noEditPoints="1"/>
            </p:cNvSpPr>
            <p:nvPr/>
          </p:nvSpPr>
          <p:spPr bwMode="auto">
            <a:xfrm>
              <a:off x="2293" y="613"/>
              <a:ext cx="3094" cy="3098"/>
            </a:xfrm>
            <a:custGeom>
              <a:avLst/>
              <a:gdLst>
                <a:gd name="T0" fmla="*/ 1408 w 1652"/>
                <a:gd name="T1" fmla="*/ 241 h 1652"/>
                <a:gd name="T2" fmla="*/ 1189 w 1652"/>
                <a:gd name="T3" fmla="*/ 209 h 1652"/>
                <a:gd name="T4" fmla="*/ 1213 w 1652"/>
                <a:gd name="T5" fmla="*/ 366 h 1652"/>
                <a:gd name="T6" fmla="*/ 946 w 1652"/>
                <a:gd name="T7" fmla="*/ 488 h 1652"/>
                <a:gd name="T8" fmla="*/ 1291 w 1652"/>
                <a:gd name="T9" fmla="*/ 804 h 1652"/>
                <a:gd name="T10" fmla="*/ 946 w 1652"/>
                <a:gd name="T11" fmla="*/ 177 h 1652"/>
                <a:gd name="T12" fmla="*/ 1197 w 1652"/>
                <a:gd name="T13" fmla="*/ 325 h 1652"/>
                <a:gd name="T14" fmla="*/ 909 w 1652"/>
                <a:gd name="T15" fmla="*/ 4 h 1652"/>
                <a:gd name="T16" fmla="*/ 848 w 1652"/>
                <a:gd name="T17" fmla="*/ 177 h 1652"/>
                <a:gd name="T18" fmla="*/ 439 w 1652"/>
                <a:gd name="T19" fmla="*/ 366 h 1652"/>
                <a:gd name="T20" fmla="*/ 729 w 1652"/>
                <a:gd name="T21" fmla="*/ 804 h 1652"/>
                <a:gd name="T22" fmla="*/ 702 w 1652"/>
                <a:gd name="T23" fmla="*/ 412 h 1652"/>
                <a:gd name="T24" fmla="*/ 1335 w 1652"/>
                <a:gd name="T25" fmla="*/ 804 h 1652"/>
                <a:gd name="T26" fmla="*/ 1440 w 1652"/>
                <a:gd name="T27" fmla="*/ 274 h 1652"/>
                <a:gd name="T28" fmla="*/ 1335 w 1652"/>
                <a:gd name="T29" fmla="*/ 804 h 1652"/>
                <a:gd name="T30" fmla="*/ 913 w 1652"/>
                <a:gd name="T31" fmla="*/ 848 h 1652"/>
                <a:gd name="T32" fmla="*/ 880 w 1652"/>
                <a:gd name="T33" fmla="*/ 1070 h 1652"/>
                <a:gd name="T34" fmla="*/ 848 w 1652"/>
                <a:gd name="T35" fmla="*/ 1175 h 1652"/>
                <a:gd name="T36" fmla="*/ 951 w 1652"/>
                <a:gd name="T37" fmla="*/ 1240 h 1652"/>
                <a:gd name="T38" fmla="*/ 1291 w 1652"/>
                <a:gd name="T39" fmla="*/ 848 h 1652"/>
                <a:gd name="T40" fmla="*/ 701 w 1652"/>
                <a:gd name="T41" fmla="*/ 1240 h 1652"/>
                <a:gd name="T42" fmla="*/ 804 w 1652"/>
                <a:gd name="T43" fmla="*/ 1175 h 1652"/>
                <a:gd name="T44" fmla="*/ 767 w 1652"/>
                <a:gd name="T45" fmla="*/ 1070 h 1652"/>
                <a:gd name="T46" fmla="*/ 735 w 1652"/>
                <a:gd name="T47" fmla="*/ 848 h 1652"/>
                <a:gd name="T48" fmla="*/ 439 w 1652"/>
                <a:gd name="T49" fmla="*/ 1286 h 1652"/>
                <a:gd name="T50" fmla="*/ 1197 w 1652"/>
                <a:gd name="T51" fmla="*/ 1327 h 1652"/>
                <a:gd name="T52" fmla="*/ 976 w 1652"/>
                <a:gd name="T53" fmla="*/ 1324 h 1652"/>
                <a:gd name="T54" fmla="*/ 848 w 1652"/>
                <a:gd name="T55" fmla="*/ 1474 h 1652"/>
                <a:gd name="T56" fmla="*/ 909 w 1652"/>
                <a:gd name="T57" fmla="*/ 1648 h 1652"/>
                <a:gd name="T58" fmla="*/ 1335 w 1652"/>
                <a:gd name="T59" fmla="*/ 848 h 1652"/>
                <a:gd name="T60" fmla="*/ 1440 w 1652"/>
                <a:gd name="T61" fmla="*/ 1378 h 1652"/>
                <a:gd name="T62" fmla="*/ 1335 w 1652"/>
                <a:gd name="T63" fmla="*/ 848 h 1652"/>
                <a:gd name="T64" fmla="*/ 676 w 1652"/>
                <a:gd name="T65" fmla="*/ 1324 h 1652"/>
                <a:gd name="T66" fmla="*/ 455 w 1652"/>
                <a:gd name="T67" fmla="*/ 1327 h 1652"/>
                <a:gd name="T68" fmla="*/ 743 w 1652"/>
                <a:gd name="T69" fmla="*/ 1648 h 1652"/>
                <a:gd name="T70" fmla="*/ 804 w 1652"/>
                <a:gd name="T71" fmla="*/ 1474 h 1652"/>
                <a:gd name="T72" fmla="*/ 463 w 1652"/>
                <a:gd name="T73" fmla="*/ 1443 h 1652"/>
                <a:gd name="T74" fmla="*/ 244 w 1652"/>
                <a:gd name="T75" fmla="*/ 1411 h 1652"/>
                <a:gd name="T76" fmla="*/ 463 w 1652"/>
                <a:gd name="T77" fmla="*/ 1443 h 1652"/>
                <a:gd name="T78" fmla="*/ 1189 w 1652"/>
                <a:gd name="T79" fmla="*/ 1443 h 1652"/>
                <a:gd name="T80" fmla="*/ 1408 w 1652"/>
                <a:gd name="T81" fmla="*/ 1411 h 1652"/>
                <a:gd name="T82" fmla="*/ 317 w 1652"/>
                <a:gd name="T83" fmla="*/ 848 h 1652"/>
                <a:gd name="T84" fmla="*/ 212 w 1652"/>
                <a:gd name="T85" fmla="*/ 1378 h 1652"/>
                <a:gd name="T86" fmla="*/ 317 w 1652"/>
                <a:gd name="T87" fmla="*/ 848 h 1652"/>
                <a:gd name="T88" fmla="*/ 743 w 1652"/>
                <a:gd name="T89" fmla="*/ 4 h 1652"/>
                <a:gd name="T90" fmla="*/ 455 w 1652"/>
                <a:gd name="T91" fmla="*/ 325 h 1652"/>
                <a:gd name="T92" fmla="*/ 702 w 1652"/>
                <a:gd name="T93" fmla="*/ 177 h 1652"/>
                <a:gd name="T94" fmla="*/ 804 w 1652"/>
                <a:gd name="T95" fmla="*/ 0 h 1652"/>
                <a:gd name="T96" fmla="*/ 463 w 1652"/>
                <a:gd name="T97" fmla="*/ 209 h 1652"/>
                <a:gd name="T98" fmla="*/ 244 w 1652"/>
                <a:gd name="T99" fmla="*/ 241 h 1652"/>
                <a:gd name="T100" fmla="*/ 317 w 1652"/>
                <a:gd name="T101" fmla="*/ 804 h 1652"/>
                <a:gd name="T102" fmla="*/ 212 w 1652"/>
                <a:gd name="T103" fmla="*/ 274 h 1652"/>
                <a:gd name="T104" fmla="*/ 317 w 1652"/>
                <a:gd name="T105" fmla="*/ 804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52" h="1652">
                  <a:moveTo>
                    <a:pt x="1042" y="29"/>
                  </a:moveTo>
                  <a:cubicBezTo>
                    <a:pt x="1182" y="67"/>
                    <a:pt x="1308" y="141"/>
                    <a:pt x="1408" y="241"/>
                  </a:cubicBezTo>
                  <a:cubicBezTo>
                    <a:pt x="1357" y="269"/>
                    <a:pt x="1300" y="292"/>
                    <a:pt x="1239" y="312"/>
                  </a:cubicBezTo>
                  <a:cubicBezTo>
                    <a:pt x="1224" y="276"/>
                    <a:pt x="1208" y="241"/>
                    <a:pt x="1189" y="209"/>
                  </a:cubicBezTo>
                  <a:cubicBezTo>
                    <a:pt x="1146" y="133"/>
                    <a:pt x="1096" y="73"/>
                    <a:pt x="1042" y="29"/>
                  </a:cubicBezTo>
                  <a:close/>
                  <a:moveTo>
                    <a:pt x="1213" y="366"/>
                  </a:moveTo>
                  <a:cubicBezTo>
                    <a:pt x="1130" y="389"/>
                    <a:pt x="1040" y="405"/>
                    <a:pt x="946" y="412"/>
                  </a:cubicBezTo>
                  <a:cubicBezTo>
                    <a:pt x="946" y="488"/>
                    <a:pt x="946" y="488"/>
                    <a:pt x="946" y="488"/>
                  </a:cubicBezTo>
                  <a:cubicBezTo>
                    <a:pt x="946" y="557"/>
                    <a:pt x="937" y="661"/>
                    <a:pt x="919" y="804"/>
                  </a:cubicBezTo>
                  <a:cubicBezTo>
                    <a:pt x="1291" y="804"/>
                    <a:pt x="1291" y="804"/>
                    <a:pt x="1291" y="804"/>
                  </a:cubicBezTo>
                  <a:cubicBezTo>
                    <a:pt x="1288" y="646"/>
                    <a:pt x="1261" y="495"/>
                    <a:pt x="1213" y="366"/>
                  </a:cubicBezTo>
                  <a:close/>
                  <a:moveTo>
                    <a:pt x="946" y="177"/>
                  </a:moveTo>
                  <a:cubicBezTo>
                    <a:pt x="946" y="368"/>
                    <a:pt x="946" y="368"/>
                    <a:pt x="946" y="368"/>
                  </a:cubicBezTo>
                  <a:cubicBezTo>
                    <a:pt x="1034" y="361"/>
                    <a:pt x="1118" y="346"/>
                    <a:pt x="1197" y="325"/>
                  </a:cubicBezTo>
                  <a:cubicBezTo>
                    <a:pt x="1183" y="292"/>
                    <a:pt x="1168" y="260"/>
                    <a:pt x="1151" y="231"/>
                  </a:cubicBezTo>
                  <a:cubicBezTo>
                    <a:pt x="1083" y="112"/>
                    <a:pt x="1000" y="34"/>
                    <a:pt x="909" y="4"/>
                  </a:cubicBezTo>
                  <a:cubicBezTo>
                    <a:pt x="889" y="2"/>
                    <a:pt x="869" y="1"/>
                    <a:pt x="848" y="0"/>
                  </a:cubicBezTo>
                  <a:cubicBezTo>
                    <a:pt x="848" y="177"/>
                    <a:pt x="848" y="177"/>
                    <a:pt x="848" y="177"/>
                  </a:cubicBezTo>
                  <a:lnTo>
                    <a:pt x="946" y="177"/>
                  </a:lnTo>
                  <a:close/>
                  <a:moveTo>
                    <a:pt x="439" y="366"/>
                  </a:moveTo>
                  <a:cubicBezTo>
                    <a:pt x="391" y="495"/>
                    <a:pt x="364" y="646"/>
                    <a:pt x="361" y="804"/>
                  </a:cubicBezTo>
                  <a:cubicBezTo>
                    <a:pt x="729" y="804"/>
                    <a:pt x="729" y="804"/>
                    <a:pt x="729" y="804"/>
                  </a:cubicBezTo>
                  <a:cubicBezTo>
                    <a:pt x="711" y="663"/>
                    <a:pt x="702" y="558"/>
                    <a:pt x="702" y="489"/>
                  </a:cubicBezTo>
                  <a:cubicBezTo>
                    <a:pt x="702" y="412"/>
                    <a:pt x="702" y="412"/>
                    <a:pt x="702" y="412"/>
                  </a:cubicBezTo>
                  <a:cubicBezTo>
                    <a:pt x="610" y="405"/>
                    <a:pt x="521" y="389"/>
                    <a:pt x="439" y="366"/>
                  </a:cubicBezTo>
                  <a:close/>
                  <a:moveTo>
                    <a:pt x="1335" y="804"/>
                  </a:moveTo>
                  <a:cubicBezTo>
                    <a:pt x="1652" y="804"/>
                    <a:pt x="1652" y="804"/>
                    <a:pt x="1652" y="804"/>
                  </a:cubicBezTo>
                  <a:cubicBezTo>
                    <a:pt x="1646" y="600"/>
                    <a:pt x="1567" y="415"/>
                    <a:pt x="1440" y="274"/>
                  </a:cubicBezTo>
                  <a:cubicBezTo>
                    <a:pt x="1384" y="305"/>
                    <a:pt x="1322" y="331"/>
                    <a:pt x="1255" y="353"/>
                  </a:cubicBezTo>
                  <a:cubicBezTo>
                    <a:pt x="1305" y="487"/>
                    <a:pt x="1332" y="642"/>
                    <a:pt x="1335" y="804"/>
                  </a:cubicBezTo>
                  <a:close/>
                  <a:moveTo>
                    <a:pt x="1291" y="848"/>
                  </a:moveTo>
                  <a:cubicBezTo>
                    <a:pt x="913" y="848"/>
                    <a:pt x="913" y="848"/>
                    <a:pt x="913" y="848"/>
                  </a:cubicBezTo>
                  <a:cubicBezTo>
                    <a:pt x="905" y="907"/>
                    <a:pt x="896" y="971"/>
                    <a:pt x="885" y="1041"/>
                  </a:cubicBezTo>
                  <a:cubicBezTo>
                    <a:pt x="880" y="1070"/>
                    <a:pt x="880" y="1070"/>
                    <a:pt x="880" y="1070"/>
                  </a:cubicBezTo>
                  <a:cubicBezTo>
                    <a:pt x="848" y="1070"/>
                    <a:pt x="848" y="1070"/>
                    <a:pt x="848" y="1070"/>
                  </a:cubicBezTo>
                  <a:cubicBezTo>
                    <a:pt x="848" y="1175"/>
                    <a:pt x="848" y="1175"/>
                    <a:pt x="848" y="1175"/>
                  </a:cubicBezTo>
                  <a:cubicBezTo>
                    <a:pt x="880" y="1180"/>
                    <a:pt x="908" y="1194"/>
                    <a:pt x="932" y="1218"/>
                  </a:cubicBezTo>
                  <a:cubicBezTo>
                    <a:pt x="939" y="1225"/>
                    <a:pt x="945" y="1232"/>
                    <a:pt x="951" y="1240"/>
                  </a:cubicBezTo>
                  <a:cubicBezTo>
                    <a:pt x="1043" y="1247"/>
                    <a:pt x="1131" y="1263"/>
                    <a:pt x="1213" y="1286"/>
                  </a:cubicBezTo>
                  <a:cubicBezTo>
                    <a:pt x="1261" y="1157"/>
                    <a:pt x="1288" y="1006"/>
                    <a:pt x="1291" y="848"/>
                  </a:cubicBezTo>
                  <a:close/>
                  <a:moveTo>
                    <a:pt x="439" y="1286"/>
                  </a:moveTo>
                  <a:cubicBezTo>
                    <a:pt x="521" y="1263"/>
                    <a:pt x="609" y="1247"/>
                    <a:pt x="701" y="1240"/>
                  </a:cubicBezTo>
                  <a:cubicBezTo>
                    <a:pt x="707" y="1232"/>
                    <a:pt x="713" y="1225"/>
                    <a:pt x="720" y="1218"/>
                  </a:cubicBezTo>
                  <a:cubicBezTo>
                    <a:pt x="744" y="1194"/>
                    <a:pt x="772" y="1180"/>
                    <a:pt x="804" y="1175"/>
                  </a:cubicBezTo>
                  <a:cubicBezTo>
                    <a:pt x="804" y="1070"/>
                    <a:pt x="804" y="1070"/>
                    <a:pt x="804" y="1070"/>
                  </a:cubicBezTo>
                  <a:cubicBezTo>
                    <a:pt x="767" y="1070"/>
                    <a:pt x="767" y="1070"/>
                    <a:pt x="767" y="1070"/>
                  </a:cubicBezTo>
                  <a:cubicBezTo>
                    <a:pt x="763" y="1041"/>
                    <a:pt x="763" y="1041"/>
                    <a:pt x="763" y="1041"/>
                  </a:cubicBezTo>
                  <a:cubicBezTo>
                    <a:pt x="752" y="971"/>
                    <a:pt x="743" y="907"/>
                    <a:pt x="735" y="848"/>
                  </a:cubicBezTo>
                  <a:cubicBezTo>
                    <a:pt x="361" y="848"/>
                    <a:pt x="361" y="848"/>
                    <a:pt x="361" y="848"/>
                  </a:cubicBezTo>
                  <a:cubicBezTo>
                    <a:pt x="364" y="1006"/>
                    <a:pt x="391" y="1157"/>
                    <a:pt x="439" y="1286"/>
                  </a:cubicBezTo>
                  <a:close/>
                  <a:moveTo>
                    <a:pt x="1151" y="1421"/>
                  </a:moveTo>
                  <a:cubicBezTo>
                    <a:pt x="1168" y="1392"/>
                    <a:pt x="1183" y="1360"/>
                    <a:pt x="1197" y="1327"/>
                  </a:cubicBezTo>
                  <a:cubicBezTo>
                    <a:pt x="1126" y="1308"/>
                    <a:pt x="1050" y="1294"/>
                    <a:pt x="972" y="1286"/>
                  </a:cubicBezTo>
                  <a:cubicBezTo>
                    <a:pt x="975" y="1298"/>
                    <a:pt x="976" y="1311"/>
                    <a:pt x="976" y="1324"/>
                  </a:cubicBezTo>
                  <a:cubicBezTo>
                    <a:pt x="976" y="1365"/>
                    <a:pt x="962" y="1401"/>
                    <a:pt x="932" y="1431"/>
                  </a:cubicBezTo>
                  <a:cubicBezTo>
                    <a:pt x="908" y="1455"/>
                    <a:pt x="880" y="1469"/>
                    <a:pt x="848" y="1474"/>
                  </a:cubicBezTo>
                  <a:cubicBezTo>
                    <a:pt x="848" y="1652"/>
                    <a:pt x="848" y="1652"/>
                    <a:pt x="848" y="1652"/>
                  </a:cubicBezTo>
                  <a:cubicBezTo>
                    <a:pt x="869" y="1651"/>
                    <a:pt x="889" y="1650"/>
                    <a:pt x="909" y="1648"/>
                  </a:cubicBezTo>
                  <a:cubicBezTo>
                    <a:pt x="1000" y="1618"/>
                    <a:pt x="1083" y="1540"/>
                    <a:pt x="1151" y="1421"/>
                  </a:cubicBezTo>
                  <a:close/>
                  <a:moveTo>
                    <a:pt x="1335" y="848"/>
                  </a:moveTo>
                  <a:cubicBezTo>
                    <a:pt x="1332" y="1010"/>
                    <a:pt x="1305" y="1165"/>
                    <a:pt x="1255" y="1299"/>
                  </a:cubicBezTo>
                  <a:cubicBezTo>
                    <a:pt x="1322" y="1321"/>
                    <a:pt x="1384" y="1347"/>
                    <a:pt x="1440" y="1378"/>
                  </a:cubicBezTo>
                  <a:cubicBezTo>
                    <a:pt x="1567" y="1237"/>
                    <a:pt x="1646" y="1052"/>
                    <a:pt x="1652" y="848"/>
                  </a:cubicBezTo>
                  <a:lnTo>
                    <a:pt x="1335" y="848"/>
                  </a:lnTo>
                  <a:close/>
                  <a:moveTo>
                    <a:pt x="720" y="1431"/>
                  </a:moveTo>
                  <a:cubicBezTo>
                    <a:pt x="690" y="1401"/>
                    <a:pt x="676" y="1365"/>
                    <a:pt x="676" y="1324"/>
                  </a:cubicBezTo>
                  <a:cubicBezTo>
                    <a:pt x="676" y="1311"/>
                    <a:pt x="677" y="1298"/>
                    <a:pt x="680" y="1286"/>
                  </a:cubicBezTo>
                  <a:cubicBezTo>
                    <a:pt x="602" y="1294"/>
                    <a:pt x="526" y="1308"/>
                    <a:pt x="455" y="1327"/>
                  </a:cubicBezTo>
                  <a:cubicBezTo>
                    <a:pt x="469" y="1360"/>
                    <a:pt x="484" y="1392"/>
                    <a:pt x="501" y="1421"/>
                  </a:cubicBezTo>
                  <a:cubicBezTo>
                    <a:pt x="569" y="1540"/>
                    <a:pt x="652" y="1618"/>
                    <a:pt x="743" y="1648"/>
                  </a:cubicBezTo>
                  <a:cubicBezTo>
                    <a:pt x="763" y="1650"/>
                    <a:pt x="783" y="1651"/>
                    <a:pt x="804" y="1652"/>
                  </a:cubicBezTo>
                  <a:cubicBezTo>
                    <a:pt x="804" y="1474"/>
                    <a:pt x="804" y="1474"/>
                    <a:pt x="804" y="1474"/>
                  </a:cubicBezTo>
                  <a:cubicBezTo>
                    <a:pt x="772" y="1469"/>
                    <a:pt x="744" y="1455"/>
                    <a:pt x="720" y="1431"/>
                  </a:cubicBezTo>
                  <a:close/>
                  <a:moveTo>
                    <a:pt x="463" y="1443"/>
                  </a:moveTo>
                  <a:cubicBezTo>
                    <a:pt x="444" y="1411"/>
                    <a:pt x="428" y="1376"/>
                    <a:pt x="413" y="1340"/>
                  </a:cubicBezTo>
                  <a:cubicBezTo>
                    <a:pt x="352" y="1360"/>
                    <a:pt x="295" y="1383"/>
                    <a:pt x="244" y="1411"/>
                  </a:cubicBezTo>
                  <a:cubicBezTo>
                    <a:pt x="344" y="1511"/>
                    <a:pt x="470" y="1585"/>
                    <a:pt x="610" y="1623"/>
                  </a:cubicBezTo>
                  <a:cubicBezTo>
                    <a:pt x="556" y="1579"/>
                    <a:pt x="506" y="1519"/>
                    <a:pt x="463" y="1443"/>
                  </a:cubicBezTo>
                  <a:close/>
                  <a:moveTo>
                    <a:pt x="1239" y="1340"/>
                  </a:moveTo>
                  <a:cubicBezTo>
                    <a:pt x="1224" y="1376"/>
                    <a:pt x="1208" y="1411"/>
                    <a:pt x="1189" y="1443"/>
                  </a:cubicBezTo>
                  <a:cubicBezTo>
                    <a:pt x="1146" y="1519"/>
                    <a:pt x="1096" y="1579"/>
                    <a:pt x="1042" y="1623"/>
                  </a:cubicBezTo>
                  <a:cubicBezTo>
                    <a:pt x="1182" y="1585"/>
                    <a:pt x="1308" y="1511"/>
                    <a:pt x="1408" y="1411"/>
                  </a:cubicBezTo>
                  <a:cubicBezTo>
                    <a:pt x="1357" y="1383"/>
                    <a:pt x="1300" y="1360"/>
                    <a:pt x="1239" y="1340"/>
                  </a:cubicBezTo>
                  <a:close/>
                  <a:moveTo>
                    <a:pt x="317" y="848"/>
                  </a:moveTo>
                  <a:cubicBezTo>
                    <a:pt x="0" y="848"/>
                    <a:pt x="0" y="848"/>
                    <a:pt x="0" y="848"/>
                  </a:cubicBezTo>
                  <a:cubicBezTo>
                    <a:pt x="6" y="1052"/>
                    <a:pt x="85" y="1237"/>
                    <a:pt x="212" y="1378"/>
                  </a:cubicBezTo>
                  <a:cubicBezTo>
                    <a:pt x="268" y="1347"/>
                    <a:pt x="330" y="1321"/>
                    <a:pt x="397" y="1299"/>
                  </a:cubicBezTo>
                  <a:cubicBezTo>
                    <a:pt x="347" y="1165"/>
                    <a:pt x="320" y="1010"/>
                    <a:pt x="317" y="848"/>
                  </a:cubicBezTo>
                  <a:close/>
                  <a:moveTo>
                    <a:pt x="804" y="0"/>
                  </a:moveTo>
                  <a:cubicBezTo>
                    <a:pt x="783" y="1"/>
                    <a:pt x="763" y="2"/>
                    <a:pt x="743" y="4"/>
                  </a:cubicBezTo>
                  <a:cubicBezTo>
                    <a:pt x="652" y="34"/>
                    <a:pt x="569" y="112"/>
                    <a:pt x="501" y="231"/>
                  </a:cubicBezTo>
                  <a:cubicBezTo>
                    <a:pt x="484" y="260"/>
                    <a:pt x="469" y="292"/>
                    <a:pt x="455" y="325"/>
                  </a:cubicBezTo>
                  <a:cubicBezTo>
                    <a:pt x="532" y="346"/>
                    <a:pt x="616" y="361"/>
                    <a:pt x="702" y="368"/>
                  </a:cubicBezTo>
                  <a:cubicBezTo>
                    <a:pt x="702" y="177"/>
                    <a:pt x="702" y="177"/>
                    <a:pt x="702" y="177"/>
                  </a:cubicBezTo>
                  <a:cubicBezTo>
                    <a:pt x="804" y="177"/>
                    <a:pt x="804" y="177"/>
                    <a:pt x="804" y="177"/>
                  </a:cubicBezTo>
                  <a:lnTo>
                    <a:pt x="804" y="0"/>
                  </a:lnTo>
                  <a:close/>
                  <a:moveTo>
                    <a:pt x="413" y="312"/>
                  </a:moveTo>
                  <a:cubicBezTo>
                    <a:pt x="428" y="276"/>
                    <a:pt x="444" y="241"/>
                    <a:pt x="463" y="209"/>
                  </a:cubicBezTo>
                  <a:cubicBezTo>
                    <a:pt x="506" y="133"/>
                    <a:pt x="556" y="73"/>
                    <a:pt x="610" y="29"/>
                  </a:cubicBezTo>
                  <a:cubicBezTo>
                    <a:pt x="470" y="67"/>
                    <a:pt x="344" y="141"/>
                    <a:pt x="244" y="241"/>
                  </a:cubicBezTo>
                  <a:cubicBezTo>
                    <a:pt x="295" y="269"/>
                    <a:pt x="352" y="292"/>
                    <a:pt x="413" y="312"/>
                  </a:cubicBezTo>
                  <a:close/>
                  <a:moveTo>
                    <a:pt x="317" y="804"/>
                  </a:moveTo>
                  <a:cubicBezTo>
                    <a:pt x="320" y="642"/>
                    <a:pt x="347" y="487"/>
                    <a:pt x="397" y="353"/>
                  </a:cubicBezTo>
                  <a:cubicBezTo>
                    <a:pt x="330" y="331"/>
                    <a:pt x="268" y="305"/>
                    <a:pt x="212" y="274"/>
                  </a:cubicBezTo>
                  <a:cubicBezTo>
                    <a:pt x="85" y="415"/>
                    <a:pt x="6" y="600"/>
                    <a:pt x="0" y="804"/>
                  </a:cubicBezTo>
                  <a:lnTo>
                    <a:pt x="317" y="8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nvGrpSpPr>
          <p:cNvPr id="48" name="bcgIcons_BigDataAdvancedAnalytics">
            <a:extLst>
              <a:ext uri="{FF2B5EF4-FFF2-40B4-BE49-F238E27FC236}">
                <a16:creationId xmlns:a16="http://schemas.microsoft.com/office/drawing/2014/main" id="{04BF71AC-F953-4708-B8FB-2D47C886FC1D}"/>
              </a:ext>
            </a:extLst>
          </p:cNvPr>
          <p:cNvGrpSpPr>
            <a:grpSpLocks noChangeAspect="1"/>
          </p:cNvGrpSpPr>
          <p:nvPr/>
        </p:nvGrpSpPr>
        <p:grpSpPr bwMode="auto">
          <a:xfrm>
            <a:off x="4569458" y="1879854"/>
            <a:ext cx="712082" cy="714374"/>
            <a:chOff x="2133" y="444"/>
            <a:chExt cx="3417" cy="3428"/>
          </a:xfrm>
          <a:solidFill>
            <a:schemeClr val="tx2"/>
          </a:solidFill>
        </p:grpSpPr>
        <p:sp>
          <p:nvSpPr>
            <p:cNvPr id="50" name="Freeform 35">
              <a:extLst>
                <a:ext uri="{FF2B5EF4-FFF2-40B4-BE49-F238E27FC236}">
                  <a16:creationId xmlns:a16="http://schemas.microsoft.com/office/drawing/2014/main" id="{9BE166E4-DB13-4348-ADBA-6489F7FAF447}"/>
                </a:ext>
              </a:extLst>
            </p:cNvPr>
            <p:cNvSpPr>
              <a:spLocks noEditPoints="1"/>
            </p:cNvSpPr>
            <p:nvPr/>
          </p:nvSpPr>
          <p:spPr bwMode="auto">
            <a:xfrm>
              <a:off x="2133" y="444"/>
              <a:ext cx="3417" cy="342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36">
              <a:extLst>
                <a:ext uri="{FF2B5EF4-FFF2-40B4-BE49-F238E27FC236}">
                  <a16:creationId xmlns:a16="http://schemas.microsoft.com/office/drawing/2014/main" id="{324EA3B9-D286-4F65-A516-44357C38B02B}"/>
                </a:ext>
              </a:extLst>
            </p:cNvPr>
            <p:cNvSpPr>
              <a:spLocks noEditPoints="1"/>
            </p:cNvSpPr>
            <p:nvPr/>
          </p:nvSpPr>
          <p:spPr bwMode="auto">
            <a:xfrm>
              <a:off x="2712" y="990"/>
              <a:ext cx="2243" cy="286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6" name="Group 9">
            <a:extLst>
              <a:ext uri="{FF2B5EF4-FFF2-40B4-BE49-F238E27FC236}">
                <a16:creationId xmlns:a16="http://schemas.microsoft.com/office/drawing/2014/main" id="{46CB8A47-136F-4AEF-9BAF-077C155741C6}"/>
              </a:ext>
            </a:extLst>
          </p:cNvPr>
          <p:cNvGrpSpPr>
            <a:grpSpLocks noChangeAspect="1"/>
          </p:cNvGrpSpPr>
          <p:nvPr/>
        </p:nvGrpSpPr>
        <p:grpSpPr bwMode="auto">
          <a:xfrm>
            <a:off x="1622992" y="3998858"/>
            <a:ext cx="865626" cy="914986"/>
            <a:chOff x="2360" y="613"/>
            <a:chExt cx="3069" cy="3244"/>
          </a:xfrm>
          <a:solidFill>
            <a:schemeClr val="tx2"/>
          </a:solidFill>
        </p:grpSpPr>
        <p:sp>
          <p:nvSpPr>
            <p:cNvPr id="57" name="Freeform 4">
              <a:extLst>
                <a:ext uri="{FF2B5EF4-FFF2-40B4-BE49-F238E27FC236}">
                  <a16:creationId xmlns:a16="http://schemas.microsoft.com/office/drawing/2014/main" id="{AF2CCFFF-3776-4DFD-BDA1-C22E6AD23566}"/>
                </a:ext>
              </a:extLst>
            </p:cNvPr>
            <p:cNvSpPr>
              <a:spLocks noEditPoints="1"/>
            </p:cNvSpPr>
            <p:nvPr/>
          </p:nvSpPr>
          <p:spPr bwMode="auto">
            <a:xfrm>
              <a:off x="2819" y="613"/>
              <a:ext cx="2359" cy="2507"/>
            </a:xfrm>
            <a:custGeom>
              <a:avLst/>
              <a:gdLst>
                <a:gd name="T0" fmla="*/ 1257 w 1259"/>
                <a:gd name="T1" fmla="*/ 464 h 1337"/>
                <a:gd name="T2" fmla="*/ 1203 w 1259"/>
                <a:gd name="T3" fmla="*/ 584 h 1337"/>
                <a:gd name="T4" fmla="*/ 861 w 1259"/>
                <a:gd name="T5" fmla="*/ 822 h 1337"/>
                <a:gd name="T6" fmla="*/ 515 w 1259"/>
                <a:gd name="T7" fmla="*/ 880 h 1337"/>
                <a:gd name="T8" fmla="*/ 157 w 1259"/>
                <a:gd name="T9" fmla="*/ 735 h 1337"/>
                <a:gd name="T10" fmla="*/ 216 w 1259"/>
                <a:gd name="T11" fmla="*/ 718 h 1337"/>
                <a:gd name="T12" fmla="*/ 297 w 1259"/>
                <a:gd name="T13" fmla="*/ 680 h 1337"/>
                <a:gd name="T14" fmla="*/ 363 w 1259"/>
                <a:gd name="T15" fmla="*/ 625 h 1337"/>
                <a:gd name="T16" fmla="*/ 414 w 1259"/>
                <a:gd name="T17" fmla="*/ 552 h 1337"/>
                <a:gd name="T18" fmla="*/ 452 w 1259"/>
                <a:gd name="T19" fmla="*/ 472 h 1337"/>
                <a:gd name="T20" fmla="*/ 414 w 1259"/>
                <a:gd name="T21" fmla="*/ 419 h 1337"/>
                <a:gd name="T22" fmla="*/ 494 w 1259"/>
                <a:gd name="T23" fmla="*/ 407 h 1337"/>
                <a:gd name="T24" fmla="*/ 547 w 1259"/>
                <a:gd name="T25" fmla="*/ 398 h 1337"/>
                <a:gd name="T26" fmla="*/ 622 w 1259"/>
                <a:gd name="T27" fmla="*/ 430 h 1337"/>
                <a:gd name="T28" fmla="*/ 687 w 1259"/>
                <a:gd name="T29" fmla="*/ 411 h 1337"/>
                <a:gd name="T30" fmla="*/ 691 w 1259"/>
                <a:gd name="T31" fmla="*/ 409 h 1337"/>
                <a:gd name="T32" fmla="*/ 750 w 1259"/>
                <a:gd name="T33" fmla="*/ 374 h 1337"/>
                <a:gd name="T34" fmla="*/ 778 w 1259"/>
                <a:gd name="T35" fmla="*/ 297 h 1337"/>
                <a:gd name="T36" fmla="*/ 819 w 1259"/>
                <a:gd name="T37" fmla="*/ 266 h 1337"/>
                <a:gd name="T38" fmla="*/ 1257 w 1259"/>
                <a:gd name="T39" fmla="*/ 456 h 1337"/>
                <a:gd name="T40" fmla="*/ 778 w 1259"/>
                <a:gd name="T41" fmla="*/ 251 h 1337"/>
                <a:gd name="T42" fmla="*/ 706 w 1259"/>
                <a:gd name="T43" fmla="*/ 318 h 1337"/>
                <a:gd name="T44" fmla="*/ 671 w 1259"/>
                <a:gd name="T45" fmla="*/ 370 h 1337"/>
                <a:gd name="T46" fmla="*/ 610 w 1259"/>
                <a:gd name="T47" fmla="*/ 360 h 1337"/>
                <a:gd name="T48" fmla="*/ 513 w 1259"/>
                <a:gd name="T49" fmla="*/ 367 h 1337"/>
                <a:gd name="T50" fmla="*/ 457 w 1259"/>
                <a:gd name="T51" fmla="*/ 287 h 1337"/>
                <a:gd name="T52" fmla="*/ 431 w 1259"/>
                <a:gd name="T53" fmla="*/ 225 h 1337"/>
                <a:gd name="T54" fmla="*/ 414 w 1259"/>
                <a:gd name="T55" fmla="*/ 126 h 1337"/>
                <a:gd name="T56" fmla="*/ 483 w 1259"/>
                <a:gd name="T57" fmla="*/ 66 h 1337"/>
                <a:gd name="T58" fmla="*/ 519 w 1259"/>
                <a:gd name="T59" fmla="*/ 13 h 1337"/>
                <a:gd name="T60" fmla="*/ 583 w 1259"/>
                <a:gd name="T61" fmla="*/ 22 h 1337"/>
                <a:gd name="T62" fmla="*/ 673 w 1259"/>
                <a:gd name="T63" fmla="*/ 14 h 1337"/>
                <a:gd name="T64" fmla="*/ 732 w 1259"/>
                <a:gd name="T65" fmla="*/ 93 h 1337"/>
                <a:gd name="T66" fmla="*/ 759 w 1259"/>
                <a:gd name="T67" fmla="*/ 154 h 1337"/>
                <a:gd name="T68" fmla="*/ 629 w 1259"/>
                <a:gd name="T69" fmla="*/ 269 h 1337"/>
                <a:gd name="T70" fmla="*/ 561 w 1259"/>
                <a:gd name="T71" fmla="*/ 113 h 1337"/>
                <a:gd name="T72" fmla="*/ 629 w 1259"/>
                <a:gd name="T73" fmla="*/ 269 h 1337"/>
                <a:gd name="T74" fmla="*/ 88 w 1259"/>
                <a:gd name="T75" fmla="*/ 277 h 1337"/>
                <a:gd name="T76" fmla="*/ 88 w 1259"/>
                <a:gd name="T77" fmla="*/ 454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59" h="1337">
                  <a:moveTo>
                    <a:pt x="1257" y="456"/>
                  </a:moveTo>
                  <a:cubicBezTo>
                    <a:pt x="1257" y="464"/>
                    <a:pt x="1257" y="464"/>
                    <a:pt x="1257" y="464"/>
                  </a:cubicBezTo>
                  <a:cubicBezTo>
                    <a:pt x="1254" y="508"/>
                    <a:pt x="1235" y="547"/>
                    <a:pt x="1203" y="584"/>
                  </a:cubicBezTo>
                  <a:cubicBezTo>
                    <a:pt x="1203" y="584"/>
                    <a:pt x="1203" y="584"/>
                    <a:pt x="1203" y="584"/>
                  </a:cubicBezTo>
                  <a:cubicBezTo>
                    <a:pt x="1154" y="653"/>
                    <a:pt x="970" y="784"/>
                    <a:pt x="870" y="836"/>
                  </a:cubicBezTo>
                  <a:cubicBezTo>
                    <a:pt x="861" y="840"/>
                    <a:pt x="853" y="828"/>
                    <a:pt x="861" y="822"/>
                  </a:cubicBezTo>
                  <a:cubicBezTo>
                    <a:pt x="892" y="798"/>
                    <a:pt x="912" y="777"/>
                    <a:pt x="925" y="760"/>
                  </a:cubicBezTo>
                  <a:cubicBezTo>
                    <a:pt x="727" y="841"/>
                    <a:pt x="515" y="880"/>
                    <a:pt x="515" y="880"/>
                  </a:cubicBezTo>
                  <a:cubicBezTo>
                    <a:pt x="337" y="1058"/>
                    <a:pt x="559" y="1300"/>
                    <a:pt x="505" y="1324"/>
                  </a:cubicBezTo>
                  <a:cubicBezTo>
                    <a:pt x="476" y="1337"/>
                    <a:pt x="160" y="1067"/>
                    <a:pt x="157" y="735"/>
                  </a:cubicBezTo>
                  <a:cubicBezTo>
                    <a:pt x="170" y="732"/>
                    <a:pt x="170" y="732"/>
                    <a:pt x="170" y="732"/>
                  </a:cubicBezTo>
                  <a:cubicBezTo>
                    <a:pt x="192" y="727"/>
                    <a:pt x="215" y="718"/>
                    <a:pt x="216" y="718"/>
                  </a:cubicBezTo>
                  <a:cubicBezTo>
                    <a:pt x="218" y="717"/>
                    <a:pt x="241" y="709"/>
                    <a:pt x="261" y="698"/>
                  </a:cubicBezTo>
                  <a:cubicBezTo>
                    <a:pt x="297" y="680"/>
                    <a:pt x="297" y="680"/>
                    <a:pt x="297" y="680"/>
                  </a:cubicBezTo>
                  <a:cubicBezTo>
                    <a:pt x="298" y="614"/>
                    <a:pt x="298" y="614"/>
                    <a:pt x="298" y="614"/>
                  </a:cubicBezTo>
                  <a:cubicBezTo>
                    <a:pt x="363" y="625"/>
                    <a:pt x="363" y="625"/>
                    <a:pt x="363" y="625"/>
                  </a:cubicBezTo>
                  <a:cubicBezTo>
                    <a:pt x="387" y="593"/>
                    <a:pt x="387" y="593"/>
                    <a:pt x="387" y="593"/>
                  </a:cubicBezTo>
                  <a:cubicBezTo>
                    <a:pt x="400" y="576"/>
                    <a:pt x="412" y="555"/>
                    <a:pt x="414" y="552"/>
                  </a:cubicBezTo>
                  <a:cubicBezTo>
                    <a:pt x="415" y="550"/>
                    <a:pt x="427" y="529"/>
                    <a:pt x="436" y="509"/>
                  </a:cubicBezTo>
                  <a:cubicBezTo>
                    <a:pt x="452" y="472"/>
                    <a:pt x="452" y="472"/>
                    <a:pt x="452" y="472"/>
                  </a:cubicBezTo>
                  <a:cubicBezTo>
                    <a:pt x="413" y="424"/>
                    <a:pt x="413" y="424"/>
                    <a:pt x="413" y="424"/>
                  </a:cubicBezTo>
                  <a:cubicBezTo>
                    <a:pt x="413" y="422"/>
                    <a:pt x="413" y="420"/>
                    <a:pt x="414" y="419"/>
                  </a:cubicBezTo>
                  <a:cubicBezTo>
                    <a:pt x="464" y="389"/>
                    <a:pt x="464" y="389"/>
                    <a:pt x="464" y="389"/>
                  </a:cubicBezTo>
                  <a:cubicBezTo>
                    <a:pt x="473" y="395"/>
                    <a:pt x="483" y="401"/>
                    <a:pt x="494" y="407"/>
                  </a:cubicBezTo>
                  <a:cubicBezTo>
                    <a:pt x="515" y="417"/>
                    <a:pt x="515" y="417"/>
                    <a:pt x="515" y="417"/>
                  </a:cubicBezTo>
                  <a:cubicBezTo>
                    <a:pt x="547" y="398"/>
                    <a:pt x="547" y="398"/>
                    <a:pt x="547" y="398"/>
                  </a:cubicBezTo>
                  <a:cubicBezTo>
                    <a:pt x="562" y="402"/>
                    <a:pt x="578" y="404"/>
                    <a:pt x="593" y="404"/>
                  </a:cubicBezTo>
                  <a:cubicBezTo>
                    <a:pt x="622" y="430"/>
                    <a:pt x="622" y="430"/>
                    <a:pt x="622" y="430"/>
                  </a:cubicBezTo>
                  <a:cubicBezTo>
                    <a:pt x="644" y="424"/>
                    <a:pt x="644" y="424"/>
                    <a:pt x="644" y="424"/>
                  </a:cubicBezTo>
                  <a:cubicBezTo>
                    <a:pt x="659" y="421"/>
                    <a:pt x="674" y="416"/>
                    <a:pt x="687" y="411"/>
                  </a:cubicBezTo>
                  <a:cubicBezTo>
                    <a:pt x="689" y="410"/>
                    <a:pt x="689" y="410"/>
                    <a:pt x="689" y="410"/>
                  </a:cubicBezTo>
                  <a:cubicBezTo>
                    <a:pt x="691" y="409"/>
                    <a:pt x="691" y="409"/>
                    <a:pt x="691" y="409"/>
                  </a:cubicBezTo>
                  <a:cubicBezTo>
                    <a:pt x="704" y="403"/>
                    <a:pt x="717" y="396"/>
                    <a:pt x="730" y="387"/>
                  </a:cubicBezTo>
                  <a:cubicBezTo>
                    <a:pt x="750" y="374"/>
                    <a:pt x="750" y="374"/>
                    <a:pt x="750" y="374"/>
                  </a:cubicBezTo>
                  <a:cubicBezTo>
                    <a:pt x="750" y="336"/>
                    <a:pt x="750" y="336"/>
                    <a:pt x="750" y="336"/>
                  </a:cubicBezTo>
                  <a:cubicBezTo>
                    <a:pt x="761" y="324"/>
                    <a:pt x="770" y="311"/>
                    <a:pt x="778" y="297"/>
                  </a:cubicBezTo>
                  <a:cubicBezTo>
                    <a:pt x="812" y="287"/>
                    <a:pt x="812" y="287"/>
                    <a:pt x="812" y="287"/>
                  </a:cubicBezTo>
                  <a:cubicBezTo>
                    <a:pt x="819" y="266"/>
                    <a:pt x="819" y="266"/>
                    <a:pt x="819" y="266"/>
                  </a:cubicBezTo>
                  <a:cubicBezTo>
                    <a:pt x="826" y="246"/>
                    <a:pt x="830" y="225"/>
                    <a:pt x="831" y="204"/>
                  </a:cubicBezTo>
                  <a:cubicBezTo>
                    <a:pt x="1145" y="234"/>
                    <a:pt x="1259" y="383"/>
                    <a:pt x="1257" y="456"/>
                  </a:cubicBezTo>
                  <a:close/>
                  <a:moveTo>
                    <a:pt x="786" y="171"/>
                  </a:moveTo>
                  <a:cubicBezTo>
                    <a:pt x="789" y="198"/>
                    <a:pt x="786" y="226"/>
                    <a:pt x="778" y="251"/>
                  </a:cubicBezTo>
                  <a:cubicBezTo>
                    <a:pt x="778" y="251"/>
                    <a:pt x="778" y="251"/>
                    <a:pt x="748" y="261"/>
                  </a:cubicBezTo>
                  <a:cubicBezTo>
                    <a:pt x="738" y="282"/>
                    <a:pt x="724" y="302"/>
                    <a:pt x="706" y="318"/>
                  </a:cubicBezTo>
                  <a:cubicBezTo>
                    <a:pt x="706" y="318"/>
                    <a:pt x="706" y="318"/>
                    <a:pt x="706" y="350"/>
                  </a:cubicBezTo>
                  <a:cubicBezTo>
                    <a:pt x="695" y="357"/>
                    <a:pt x="683" y="364"/>
                    <a:pt x="671" y="370"/>
                  </a:cubicBezTo>
                  <a:cubicBezTo>
                    <a:pt x="659" y="375"/>
                    <a:pt x="646" y="379"/>
                    <a:pt x="634" y="382"/>
                  </a:cubicBezTo>
                  <a:cubicBezTo>
                    <a:pt x="634" y="382"/>
                    <a:pt x="634" y="382"/>
                    <a:pt x="610" y="360"/>
                  </a:cubicBezTo>
                  <a:cubicBezTo>
                    <a:pt x="586" y="362"/>
                    <a:pt x="563" y="359"/>
                    <a:pt x="541" y="351"/>
                  </a:cubicBezTo>
                  <a:cubicBezTo>
                    <a:pt x="541" y="351"/>
                    <a:pt x="541" y="351"/>
                    <a:pt x="513" y="367"/>
                  </a:cubicBezTo>
                  <a:cubicBezTo>
                    <a:pt x="489" y="355"/>
                    <a:pt x="468" y="339"/>
                    <a:pt x="449" y="318"/>
                  </a:cubicBezTo>
                  <a:cubicBezTo>
                    <a:pt x="449" y="318"/>
                    <a:pt x="449" y="318"/>
                    <a:pt x="457" y="287"/>
                  </a:cubicBezTo>
                  <a:cubicBezTo>
                    <a:pt x="451" y="278"/>
                    <a:pt x="446" y="268"/>
                    <a:pt x="442" y="258"/>
                  </a:cubicBezTo>
                  <a:cubicBezTo>
                    <a:pt x="436" y="247"/>
                    <a:pt x="433" y="235"/>
                    <a:pt x="431" y="225"/>
                  </a:cubicBezTo>
                  <a:cubicBezTo>
                    <a:pt x="431" y="225"/>
                    <a:pt x="431" y="225"/>
                    <a:pt x="403" y="209"/>
                  </a:cubicBezTo>
                  <a:cubicBezTo>
                    <a:pt x="401" y="180"/>
                    <a:pt x="405" y="152"/>
                    <a:pt x="414" y="126"/>
                  </a:cubicBezTo>
                  <a:cubicBezTo>
                    <a:pt x="414" y="126"/>
                    <a:pt x="414" y="126"/>
                    <a:pt x="445" y="116"/>
                  </a:cubicBezTo>
                  <a:cubicBezTo>
                    <a:pt x="454" y="97"/>
                    <a:pt x="467" y="81"/>
                    <a:pt x="483" y="66"/>
                  </a:cubicBezTo>
                  <a:cubicBezTo>
                    <a:pt x="483" y="66"/>
                    <a:pt x="483" y="66"/>
                    <a:pt x="483" y="33"/>
                  </a:cubicBezTo>
                  <a:cubicBezTo>
                    <a:pt x="494" y="25"/>
                    <a:pt x="506" y="18"/>
                    <a:pt x="519" y="13"/>
                  </a:cubicBezTo>
                  <a:cubicBezTo>
                    <a:pt x="532" y="7"/>
                    <a:pt x="546" y="3"/>
                    <a:pt x="558" y="0"/>
                  </a:cubicBezTo>
                  <a:cubicBezTo>
                    <a:pt x="558" y="0"/>
                    <a:pt x="558" y="0"/>
                    <a:pt x="583" y="22"/>
                  </a:cubicBezTo>
                  <a:cubicBezTo>
                    <a:pt x="604" y="21"/>
                    <a:pt x="624" y="23"/>
                    <a:pt x="644" y="30"/>
                  </a:cubicBezTo>
                  <a:cubicBezTo>
                    <a:pt x="644" y="30"/>
                    <a:pt x="644" y="30"/>
                    <a:pt x="673" y="14"/>
                  </a:cubicBezTo>
                  <a:cubicBezTo>
                    <a:pt x="697" y="24"/>
                    <a:pt x="720" y="41"/>
                    <a:pt x="738" y="62"/>
                  </a:cubicBezTo>
                  <a:cubicBezTo>
                    <a:pt x="738" y="62"/>
                    <a:pt x="738" y="62"/>
                    <a:pt x="732" y="93"/>
                  </a:cubicBezTo>
                  <a:cubicBezTo>
                    <a:pt x="738" y="103"/>
                    <a:pt x="744" y="113"/>
                    <a:pt x="749" y="124"/>
                  </a:cubicBezTo>
                  <a:cubicBezTo>
                    <a:pt x="753" y="134"/>
                    <a:pt x="756" y="144"/>
                    <a:pt x="759" y="154"/>
                  </a:cubicBezTo>
                  <a:cubicBezTo>
                    <a:pt x="759" y="154"/>
                    <a:pt x="759" y="154"/>
                    <a:pt x="786" y="171"/>
                  </a:cubicBezTo>
                  <a:close/>
                  <a:moveTo>
                    <a:pt x="629" y="269"/>
                  </a:moveTo>
                  <a:cubicBezTo>
                    <a:pt x="671" y="251"/>
                    <a:pt x="691" y="200"/>
                    <a:pt x="672" y="157"/>
                  </a:cubicBezTo>
                  <a:cubicBezTo>
                    <a:pt x="654" y="114"/>
                    <a:pt x="604" y="95"/>
                    <a:pt x="561" y="113"/>
                  </a:cubicBezTo>
                  <a:cubicBezTo>
                    <a:pt x="519" y="132"/>
                    <a:pt x="499" y="181"/>
                    <a:pt x="518" y="225"/>
                  </a:cubicBezTo>
                  <a:cubicBezTo>
                    <a:pt x="536" y="268"/>
                    <a:pt x="586" y="288"/>
                    <a:pt x="629" y="269"/>
                  </a:cubicBezTo>
                  <a:close/>
                  <a:moveTo>
                    <a:pt x="176" y="365"/>
                  </a:moveTo>
                  <a:cubicBezTo>
                    <a:pt x="176" y="316"/>
                    <a:pt x="137" y="277"/>
                    <a:pt x="88" y="277"/>
                  </a:cubicBezTo>
                  <a:cubicBezTo>
                    <a:pt x="39" y="277"/>
                    <a:pt x="0" y="316"/>
                    <a:pt x="0" y="365"/>
                  </a:cubicBezTo>
                  <a:cubicBezTo>
                    <a:pt x="0" y="414"/>
                    <a:pt x="39" y="454"/>
                    <a:pt x="88" y="454"/>
                  </a:cubicBezTo>
                  <a:cubicBezTo>
                    <a:pt x="137" y="454"/>
                    <a:pt x="176" y="414"/>
                    <a:pt x="176"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5">
              <a:extLst>
                <a:ext uri="{FF2B5EF4-FFF2-40B4-BE49-F238E27FC236}">
                  <a16:creationId xmlns:a16="http://schemas.microsoft.com/office/drawing/2014/main" id="{AAAE228B-74E5-45D3-A070-2FE3BF4FF90B}"/>
                </a:ext>
              </a:extLst>
            </p:cNvPr>
            <p:cNvSpPr>
              <a:spLocks noEditPoints="1"/>
            </p:cNvSpPr>
            <p:nvPr/>
          </p:nvSpPr>
          <p:spPr bwMode="auto">
            <a:xfrm>
              <a:off x="2360" y="671"/>
              <a:ext cx="3069" cy="3186"/>
            </a:xfrm>
            <a:custGeom>
              <a:avLst/>
              <a:gdLst>
                <a:gd name="T0" fmla="*/ 1490 w 1638"/>
                <a:gd name="T1" fmla="*/ 1199 h 1699"/>
                <a:gd name="T2" fmla="*/ 1167 w 1638"/>
                <a:gd name="T3" fmla="*/ 1410 h 1699"/>
                <a:gd name="T4" fmla="*/ 1104 w 1638"/>
                <a:gd name="T5" fmla="*/ 1699 h 1699"/>
                <a:gd name="T6" fmla="*/ 670 w 1638"/>
                <a:gd name="T7" fmla="*/ 1298 h 1699"/>
                <a:gd name="T8" fmla="*/ 1123 w 1638"/>
                <a:gd name="T9" fmla="*/ 1655 h 1699"/>
                <a:gd name="T10" fmla="*/ 1151 w 1638"/>
                <a:gd name="T11" fmla="*/ 1364 h 1699"/>
                <a:gd name="T12" fmla="*/ 1446 w 1638"/>
                <a:gd name="T13" fmla="*/ 1200 h 1699"/>
                <a:gd name="T14" fmla="*/ 1465 w 1638"/>
                <a:gd name="T15" fmla="*/ 1039 h 1699"/>
                <a:gd name="T16" fmla="*/ 1465 w 1638"/>
                <a:gd name="T17" fmla="*/ 822 h 1699"/>
                <a:gd name="T18" fmla="*/ 1447 w 1638"/>
                <a:gd name="T19" fmla="*/ 617 h 1699"/>
                <a:gd name="T20" fmla="*/ 1498 w 1638"/>
                <a:gd name="T21" fmla="*/ 709 h 1699"/>
                <a:gd name="T22" fmla="*/ 1626 w 1638"/>
                <a:gd name="T23" fmla="*/ 1024 h 1699"/>
                <a:gd name="T24" fmla="*/ 487 w 1638"/>
                <a:gd name="T25" fmla="*/ 628 h 1699"/>
                <a:gd name="T26" fmla="*/ 528 w 1638"/>
                <a:gd name="T27" fmla="*/ 536 h 1699"/>
                <a:gd name="T28" fmla="*/ 621 w 1638"/>
                <a:gd name="T29" fmla="*/ 499 h 1699"/>
                <a:gd name="T30" fmla="*/ 610 w 1638"/>
                <a:gd name="T31" fmla="*/ 404 h 1699"/>
                <a:gd name="T32" fmla="*/ 666 w 1638"/>
                <a:gd name="T33" fmla="*/ 319 h 1699"/>
                <a:gd name="T34" fmla="*/ 647 w 1638"/>
                <a:gd name="T35" fmla="*/ 220 h 1699"/>
                <a:gd name="T36" fmla="*/ 588 w 1638"/>
                <a:gd name="T37" fmla="*/ 118 h 1699"/>
                <a:gd name="T38" fmla="*/ 512 w 1638"/>
                <a:gd name="T39" fmla="*/ 52 h 1699"/>
                <a:gd name="T40" fmla="*/ 414 w 1638"/>
                <a:gd name="T41" fmla="*/ 69 h 1699"/>
                <a:gd name="T42" fmla="*/ 333 w 1638"/>
                <a:gd name="T43" fmla="*/ 0 h 1699"/>
                <a:gd name="T44" fmla="*/ 252 w 1638"/>
                <a:gd name="T45" fmla="*/ 69 h 1699"/>
                <a:gd name="T46" fmla="*/ 154 w 1638"/>
                <a:gd name="T47" fmla="*/ 52 h 1699"/>
                <a:gd name="T48" fmla="*/ 78 w 1638"/>
                <a:gd name="T49" fmla="*/ 118 h 1699"/>
                <a:gd name="T50" fmla="*/ 19 w 1638"/>
                <a:gd name="T51" fmla="*/ 220 h 1699"/>
                <a:gd name="T52" fmla="*/ 0 w 1638"/>
                <a:gd name="T53" fmla="*/ 318 h 1699"/>
                <a:gd name="T54" fmla="*/ 56 w 1638"/>
                <a:gd name="T55" fmla="*/ 404 h 1699"/>
                <a:gd name="T56" fmla="*/ 45 w 1638"/>
                <a:gd name="T57" fmla="*/ 499 h 1699"/>
                <a:gd name="T58" fmla="*/ 138 w 1638"/>
                <a:gd name="T59" fmla="*/ 536 h 1699"/>
                <a:gd name="T60" fmla="*/ 179 w 1638"/>
                <a:gd name="T61" fmla="*/ 628 h 1699"/>
                <a:gd name="T62" fmla="*/ 274 w 1638"/>
                <a:gd name="T63" fmla="*/ 661 h 1699"/>
                <a:gd name="T64" fmla="*/ 392 w 1638"/>
                <a:gd name="T65" fmla="*/ 661 h 1699"/>
                <a:gd name="T66" fmla="*/ 310 w 1638"/>
                <a:gd name="T67" fmla="*/ 565 h 1699"/>
                <a:gd name="T68" fmla="*/ 234 w 1638"/>
                <a:gd name="T69" fmla="*/ 604 h 1699"/>
                <a:gd name="T70" fmla="*/ 200 w 1638"/>
                <a:gd name="T71" fmla="*/ 528 h 1699"/>
                <a:gd name="T72" fmla="*/ 96 w 1638"/>
                <a:gd name="T73" fmla="*/ 498 h 1699"/>
                <a:gd name="T74" fmla="*/ 105 w 1638"/>
                <a:gd name="T75" fmla="*/ 413 h 1699"/>
                <a:gd name="T76" fmla="*/ 91 w 1638"/>
                <a:gd name="T77" fmla="*/ 334 h 1699"/>
                <a:gd name="T78" fmla="*/ 54 w 1638"/>
                <a:gd name="T79" fmla="*/ 258 h 1699"/>
                <a:gd name="T80" fmla="*/ 141 w 1638"/>
                <a:gd name="T81" fmla="*/ 193 h 1699"/>
                <a:gd name="T82" fmla="*/ 148 w 1638"/>
                <a:gd name="T83" fmla="*/ 112 h 1699"/>
                <a:gd name="T84" fmla="*/ 233 w 1638"/>
                <a:gd name="T85" fmla="*/ 123 h 1699"/>
                <a:gd name="T86" fmla="*/ 308 w 1638"/>
                <a:gd name="T87" fmla="*/ 45 h 1699"/>
                <a:gd name="T88" fmla="*/ 381 w 1638"/>
                <a:gd name="T89" fmla="*/ 106 h 1699"/>
                <a:gd name="T90" fmla="*/ 444 w 1638"/>
                <a:gd name="T91" fmla="*/ 127 h 1699"/>
                <a:gd name="T92" fmla="*/ 537 w 1638"/>
                <a:gd name="T93" fmla="*/ 129 h 1699"/>
                <a:gd name="T94" fmla="*/ 554 w 1638"/>
                <a:gd name="T95" fmla="*/ 238 h 1699"/>
                <a:gd name="T96" fmla="*/ 617 w 1638"/>
                <a:gd name="T97" fmla="*/ 283 h 1699"/>
                <a:gd name="T98" fmla="*/ 575 w 1638"/>
                <a:gd name="T99" fmla="*/ 346 h 1699"/>
                <a:gd name="T100" fmla="*/ 594 w 1638"/>
                <a:gd name="T101" fmla="*/ 455 h 1699"/>
                <a:gd name="T102" fmla="*/ 514 w 1638"/>
                <a:gd name="T103" fmla="*/ 489 h 1699"/>
                <a:gd name="T104" fmla="*/ 455 w 1638"/>
                <a:gd name="T105" fmla="*/ 535 h 1699"/>
                <a:gd name="T106" fmla="*/ 407 w 1638"/>
                <a:gd name="T107" fmla="*/ 612 h 1699"/>
                <a:gd name="T108" fmla="*/ 511 w 1638"/>
                <a:gd name="T109" fmla="*/ 334 h 1699"/>
                <a:gd name="T110" fmla="*/ 333 w 1638"/>
                <a:gd name="T111" fmla="*/ 512 h 1699"/>
                <a:gd name="T112" fmla="*/ 333 w 1638"/>
                <a:gd name="T113" fmla="*/ 468 h 1699"/>
                <a:gd name="T114" fmla="*/ 467 w 1638"/>
                <a:gd name="T115" fmla="*/ 334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8" h="1699">
                  <a:moveTo>
                    <a:pt x="1626" y="1024"/>
                  </a:moveTo>
                  <a:cubicBezTo>
                    <a:pt x="1618" y="1042"/>
                    <a:pt x="1577" y="1086"/>
                    <a:pt x="1486" y="1084"/>
                  </a:cubicBezTo>
                  <a:cubicBezTo>
                    <a:pt x="1488" y="1111"/>
                    <a:pt x="1490" y="1154"/>
                    <a:pt x="1490" y="1199"/>
                  </a:cubicBezTo>
                  <a:cubicBezTo>
                    <a:pt x="1490" y="1335"/>
                    <a:pt x="1473" y="1369"/>
                    <a:pt x="1459" y="1384"/>
                  </a:cubicBezTo>
                  <a:cubicBezTo>
                    <a:pt x="1445" y="1398"/>
                    <a:pt x="1412" y="1417"/>
                    <a:pt x="1282" y="1416"/>
                  </a:cubicBezTo>
                  <a:cubicBezTo>
                    <a:pt x="1246" y="1415"/>
                    <a:pt x="1198" y="1413"/>
                    <a:pt x="1167" y="1410"/>
                  </a:cubicBezTo>
                  <a:cubicBezTo>
                    <a:pt x="1167" y="1676"/>
                    <a:pt x="1167" y="1676"/>
                    <a:pt x="1167" y="1676"/>
                  </a:cubicBezTo>
                  <a:cubicBezTo>
                    <a:pt x="1167" y="1688"/>
                    <a:pt x="1158" y="1698"/>
                    <a:pt x="1147" y="1698"/>
                  </a:cubicBezTo>
                  <a:cubicBezTo>
                    <a:pt x="1144" y="1698"/>
                    <a:pt x="1128" y="1699"/>
                    <a:pt x="1104" y="1699"/>
                  </a:cubicBezTo>
                  <a:cubicBezTo>
                    <a:pt x="1016" y="1699"/>
                    <a:pt x="813" y="1690"/>
                    <a:pt x="680" y="1609"/>
                  </a:cubicBezTo>
                  <a:cubicBezTo>
                    <a:pt x="674" y="1606"/>
                    <a:pt x="670" y="1598"/>
                    <a:pt x="670" y="1591"/>
                  </a:cubicBezTo>
                  <a:cubicBezTo>
                    <a:pt x="670" y="1298"/>
                    <a:pt x="670" y="1298"/>
                    <a:pt x="670" y="1298"/>
                  </a:cubicBezTo>
                  <a:cubicBezTo>
                    <a:pt x="686" y="1311"/>
                    <a:pt x="701" y="1321"/>
                    <a:pt x="714" y="1327"/>
                  </a:cubicBezTo>
                  <a:cubicBezTo>
                    <a:pt x="714" y="1578"/>
                    <a:pt x="714" y="1578"/>
                    <a:pt x="714" y="1578"/>
                  </a:cubicBezTo>
                  <a:cubicBezTo>
                    <a:pt x="848" y="1652"/>
                    <a:pt x="1057" y="1656"/>
                    <a:pt x="1123" y="1655"/>
                  </a:cubicBezTo>
                  <a:cubicBezTo>
                    <a:pt x="1123" y="1385"/>
                    <a:pt x="1123" y="1385"/>
                    <a:pt x="1123" y="1385"/>
                  </a:cubicBezTo>
                  <a:cubicBezTo>
                    <a:pt x="1123" y="1378"/>
                    <a:pt x="1127" y="1371"/>
                    <a:pt x="1133" y="1367"/>
                  </a:cubicBezTo>
                  <a:cubicBezTo>
                    <a:pt x="1139" y="1364"/>
                    <a:pt x="1145" y="1363"/>
                    <a:pt x="1151" y="1364"/>
                  </a:cubicBezTo>
                  <a:cubicBezTo>
                    <a:pt x="1160" y="1366"/>
                    <a:pt x="1222" y="1371"/>
                    <a:pt x="1288" y="1372"/>
                  </a:cubicBezTo>
                  <a:cubicBezTo>
                    <a:pt x="1406" y="1372"/>
                    <a:pt x="1425" y="1355"/>
                    <a:pt x="1427" y="1354"/>
                  </a:cubicBezTo>
                  <a:cubicBezTo>
                    <a:pt x="1429" y="1352"/>
                    <a:pt x="1446" y="1331"/>
                    <a:pt x="1446" y="1200"/>
                  </a:cubicBezTo>
                  <a:cubicBezTo>
                    <a:pt x="1446" y="1129"/>
                    <a:pt x="1441" y="1063"/>
                    <a:pt x="1440" y="1062"/>
                  </a:cubicBezTo>
                  <a:cubicBezTo>
                    <a:pt x="1440" y="1056"/>
                    <a:pt x="1442" y="1049"/>
                    <a:pt x="1447" y="1045"/>
                  </a:cubicBezTo>
                  <a:cubicBezTo>
                    <a:pt x="1452" y="1040"/>
                    <a:pt x="1458" y="1038"/>
                    <a:pt x="1465" y="1039"/>
                  </a:cubicBezTo>
                  <a:cubicBezTo>
                    <a:pt x="1543" y="1047"/>
                    <a:pt x="1577" y="1019"/>
                    <a:pt x="1584" y="1008"/>
                  </a:cubicBezTo>
                  <a:cubicBezTo>
                    <a:pt x="1583" y="999"/>
                    <a:pt x="1571" y="971"/>
                    <a:pt x="1541" y="942"/>
                  </a:cubicBezTo>
                  <a:cubicBezTo>
                    <a:pt x="1499" y="900"/>
                    <a:pt x="1473" y="840"/>
                    <a:pt x="1465" y="822"/>
                  </a:cubicBezTo>
                  <a:cubicBezTo>
                    <a:pt x="1457" y="803"/>
                    <a:pt x="1456" y="765"/>
                    <a:pt x="1455" y="710"/>
                  </a:cubicBezTo>
                  <a:cubicBezTo>
                    <a:pt x="1454" y="689"/>
                    <a:pt x="1453" y="668"/>
                    <a:pt x="1452" y="654"/>
                  </a:cubicBezTo>
                  <a:cubicBezTo>
                    <a:pt x="1451" y="643"/>
                    <a:pt x="1449" y="631"/>
                    <a:pt x="1447" y="617"/>
                  </a:cubicBezTo>
                  <a:cubicBezTo>
                    <a:pt x="1461" y="604"/>
                    <a:pt x="1474" y="591"/>
                    <a:pt x="1485" y="578"/>
                  </a:cubicBezTo>
                  <a:cubicBezTo>
                    <a:pt x="1490" y="603"/>
                    <a:pt x="1494" y="631"/>
                    <a:pt x="1496" y="650"/>
                  </a:cubicBezTo>
                  <a:cubicBezTo>
                    <a:pt x="1497" y="666"/>
                    <a:pt x="1498" y="687"/>
                    <a:pt x="1498" y="709"/>
                  </a:cubicBezTo>
                  <a:cubicBezTo>
                    <a:pt x="1499" y="744"/>
                    <a:pt x="1501" y="792"/>
                    <a:pt x="1506" y="805"/>
                  </a:cubicBezTo>
                  <a:cubicBezTo>
                    <a:pt x="1519" y="838"/>
                    <a:pt x="1543" y="882"/>
                    <a:pt x="1572" y="911"/>
                  </a:cubicBezTo>
                  <a:cubicBezTo>
                    <a:pt x="1607" y="945"/>
                    <a:pt x="1638" y="995"/>
                    <a:pt x="1626" y="1024"/>
                  </a:cubicBezTo>
                  <a:close/>
                  <a:moveTo>
                    <a:pt x="405" y="658"/>
                  </a:moveTo>
                  <a:cubicBezTo>
                    <a:pt x="424" y="653"/>
                    <a:pt x="446" y="646"/>
                    <a:pt x="446" y="645"/>
                  </a:cubicBezTo>
                  <a:cubicBezTo>
                    <a:pt x="447" y="645"/>
                    <a:pt x="469" y="637"/>
                    <a:pt x="487" y="628"/>
                  </a:cubicBezTo>
                  <a:cubicBezTo>
                    <a:pt x="498" y="622"/>
                    <a:pt x="498" y="622"/>
                    <a:pt x="498" y="622"/>
                  </a:cubicBezTo>
                  <a:cubicBezTo>
                    <a:pt x="499" y="559"/>
                    <a:pt x="499" y="559"/>
                    <a:pt x="499" y="559"/>
                  </a:cubicBezTo>
                  <a:cubicBezTo>
                    <a:pt x="509" y="552"/>
                    <a:pt x="519" y="545"/>
                    <a:pt x="528" y="536"/>
                  </a:cubicBezTo>
                  <a:cubicBezTo>
                    <a:pt x="589" y="546"/>
                    <a:pt x="589" y="546"/>
                    <a:pt x="589" y="546"/>
                  </a:cubicBezTo>
                  <a:cubicBezTo>
                    <a:pt x="597" y="536"/>
                    <a:pt x="597" y="536"/>
                    <a:pt x="597" y="536"/>
                  </a:cubicBezTo>
                  <a:cubicBezTo>
                    <a:pt x="609" y="520"/>
                    <a:pt x="620" y="500"/>
                    <a:pt x="621" y="499"/>
                  </a:cubicBezTo>
                  <a:cubicBezTo>
                    <a:pt x="621" y="498"/>
                    <a:pt x="633" y="478"/>
                    <a:pt x="640" y="460"/>
                  </a:cubicBezTo>
                  <a:cubicBezTo>
                    <a:pt x="646" y="448"/>
                    <a:pt x="646" y="448"/>
                    <a:pt x="646" y="448"/>
                  </a:cubicBezTo>
                  <a:cubicBezTo>
                    <a:pt x="610" y="404"/>
                    <a:pt x="610" y="404"/>
                    <a:pt x="610" y="404"/>
                  </a:cubicBezTo>
                  <a:cubicBezTo>
                    <a:pt x="614" y="390"/>
                    <a:pt x="617" y="375"/>
                    <a:pt x="618" y="360"/>
                  </a:cubicBezTo>
                  <a:cubicBezTo>
                    <a:pt x="666" y="332"/>
                    <a:pt x="666" y="332"/>
                    <a:pt x="666" y="332"/>
                  </a:cubicBezTo>
                  <a:cubicBezTo>
                    <a:pt x="666" y="319"/>
                    <a:pt x="666" y="319"/>
                    <a:pt x="666" y="319"/>
                  </a:cubicBezTo>
                  <a:cubicBezTo>
                    <a:pt x="664" y="299"/>
                    <a:pt x="660" y="276"/>
                    <a:pt x="660" y="275"/>
                  </a:cubicBezTo>
                  <a:cubicBezTo>
                    <a:pt x="660" y="274"/>
                    <a:pt x="656" y="252"/>
                    <a:pt x="650" y="233"/>
                  </a:cubicBezTo>
                  <a:cubicBezTo>
                    <a:pt x="647" y="220"/>
                    <a:pt x="647" y="220"/>
                    <a:pt x="647" y="220"/>
                  </a:cubicBezTo>
                  <a:cubicBezTo>
                    <a:pt x="588" y="209"/>
                    <a:pt x="588" y="209"/>
                    <a:pt x="588" y="209"/>
                  </a:cubicBezTo>
                  <a:cubicBezTo>
                    <a:pt x="582" y="197"/>
                    <a:pt x="575" y="186"/>
                    <a:pt x="567" y="176"/>
                  </a:cubicBezTo>
                  <a:cubicBezTo>
                    <a:pt x="588" y="118"/>
                    <a:pt x="588" y="118"/>
                    <a:pt x="588" y="118"/>
                  </a:cubicBezTo>
                  <a:cubicBezTo>
                    <a:pt x="579" y="108"/>
                    <a:pt x="579" y="108"/>
                    <a:pt x="579" y="108"/>
                  </a:cubicBezTo>
                  <a:cubicBezTo>
                    <a:pt x="565" y="94"/>
                    <a:pt x="547" y="79"/>
                    <a:pt x="547" y="78"/>
                  </a:cubicBezTo>
                  <a:cubicBezTo>
                    <a:pt x="546" y="78"/>
                    <a:pt x="528" y="63"/>
                    <a:pt x="512" y="52"/>
                  </a:cubicBezTo>
                  <a:cubicBezTo>
                    <a:pt x="501" y="45"/>
                    <a:pt x="501" y="45"/>
                    <a:pt x="501" y="45"/>
                  </a:cubicBezTo>
                  <a:cubicBezTo>
                    <a:pt x="441" y="78"/>
                    <a:pt x="441" y="78"/>
                    <a:pt x="441" y="78"/>
                  </a:cubicBezTo>
                  <a:cubicBezTo>
                    <a:pt x="432" y="75"/>
                    <a:pt x="423" y="72"/>
                    <a:pt x="414" y="69"/>
                  </a:cubicBezTo>
                  <a:cubicBezTo>
                    <a:pt x="390" y="4"/>
                    <a:pt x="390" y="4"/>
                    <a:pt x="390" y="4"/>
                  </a:cubicBezTo>
                  <a:cubicBezTo>
                    <a:pt x="377" y="3"/>
                    <a:pt x="377" y="3"/>
                    <a:pt x="377" y="3"/>
                  </a:cubicBezTo>
                  <a:cubicBezTo>
                    <a:pt x="357" y="0"/>
                    <a:pt x="334" y="0"/>
                    <a:pt x="333" y="0"/>
                  </a:cubicBezTo>
                  <a:cubicBezTo>
                    <a:pt x="332" y="0"/>
                    <a:pt x="309" y="0"/>
                    <a:pt x="290" y="3"/>
                  </a:cubicBezTo>
                  <a:cubicBezTo>
                    <a:pt x="276" y="4"/>
                    <a:pt x="276" y="4"/>
                    <a:pt x="276" y="4"/>
                  </a:cubicBezTo>
                  <a:cubicBezTo>
                    <a:pt x="252" y="69"/>
                    <a:pt x="252" y="69"/>
                    <a:pt x="252" y="69"/>
                  </a:cubicBezTo>
                  <a:cubicBezTo>
                    <a:pt x="243" y="72"/>
                    <a:pt x="234" y="75"/>
                    <a:pt x="225" y="78"/>
                  </a:cubicBezTo>
                  <a:cubicBezTo>
                    <a:pt x="165" y="45"/>
                    <a:pt x="165" y="45"/>
                    <a:pt x="165" y="45"/>
                  </a:cubicBezTo>
                  <a:cubicBezTo>
                    <a:pt x="154" y="52"/>
                    <a:pt x="154" y="52"/>
                    <a:pt x="154" y="52"/>
                  </a:cubicBezTo>
                  <a:cubicBezTo>
                    <a:pt x="138" y="63"/>
                    <a:pt x="120" y="77"/>
                    <a:pt x="119" y="78"/>
                  </a:cubicBezTo>
                  <a:cubicBezTo>
                    <a:pt x="119" y="79"/>
                    <a:pt x="101" y="93"/>
                    <a:pt x="88" y="108"/>
                  </a:cubicBezTo>
                  <a:cubicBezTo>
                    <a:pt x="78" y="118"/>
                    <a:pt x="78" y="118"/>
                    <a:pt x="78" y="118"/>
                  </a:cubicBezTo>
                  <a:cubicBezTo>
                    <a:pt x="99" y="176"/>
                    <a:pt x="99" y="176"/>
                    <a:pt x="99" y="176"/>
                  </a:cubicBezTo>
                  <a:cubicBezTo>
                    <a:pt x="91" y="186"/>
                    <a:pt x="84" y="197"/>
                    <a:pt x="78" y="209"/>
                  </a:cubicBezTo>
                  <a:cubicBezTo>
                    <a:pt x="19" y="220"/>
                    <a:pt x="19" y="220"/>
                    <a:pt x="19" y="220"/>
                  </a:cubicBezTo>
                  <a:cubicBezTo>
                    <a:pt x="16" y="232"/>
                    <a:pt x="16" y="232"/>
                    <a:pt x="16" y="232"/>
                  </a:cubicBezTo>
                  <a:cubicBezTo>
                    <a:pt x="10" y="251"/>
                    <a:pt x="6" y="274"/>
                    <a:pt x="6" y="275"/>
                  </a:cubicBezTo>
                  <a:cubicBezTo>
                    <a:pt x="5" y="276"/>
                    <a:pt x="1" y="298"/>
                    <a:pt x="0" y="318"/>
                  </a:cubicBezTo>
                  <a:cubicBezTo>
                    <a:pt x="0" y="332"/>
                    <a:pt x="0" y="332"/>
                    <a:pt x="0" y="332"/>
                  </a:cubicBezTo>
                  <a:cubicBezTo>
                    <a:pt x="48" y="360"/>
                    <a:pt x="48" y="360"/>
                    <a:pt x="48" y="360"/>
                  </a:cubicBezTo>
                  <a:cubicBezTo>
                    <a:pt x="50" y="375"/>
                    <a:pt x="52" y="390"/>
                    <a:pt x="56" y="404"/>
                  </a:cubicBezTo>
                  <a:cubicBezTo>
                    <a:pt x="20" y="448"/>
                    <a:pt x="20" y="448"/>
                    <a:pt x="20" y="448"/>
                  </a:cubicBezTo>
                  <a:cubicBezTo>
                    <a:pt x="25" y="460"/>
                    <a:pt x="25" y="460"/>
                    <a:pt x="25" y="460"/>
                  </a:cubicBezTo>
                  <a:cubicBezTo>
                    <a:pt x="33" y="478"/>
                    <a:pt x="44" y="498"/>
                    <a:pt x="45" y="499"/>
                  </a:cubicBezTo>
                  <a:cubicBezTo>
                    <a:pt x="45" y="500"/>
                    <a:pt x="57" y="520"/>
                    <a:pt x="69" y="535"/>
                  </a:cubicBezTo>
                  <a:cubicBezTo>
                    <a:pt x="77" y="546"/>
                    <a:pt x="77" y="546"/>
                    <a:pt x="77" y="546"/>
                  </a:cubicBezTo>
                  <a:cubicBezTo>
                    <a:pt x="138" y="536"/>
                    <a:pt x="138" y="536"/>
                    <a:pt x="138" y="536"/>
                  </a:cubicBezTo>
                  <a:cubicBezTo>
                    <a:pt x="147" y="544"/>
                    <a:pt x="156" y="552"/>
                    <a:pt x="166" y="559"/>
                  </a:cubicBezTo>
                  <a:cubicBezTo>
                    <a:pt x="167" y="622"/>
                    <a:pt x="167" y="622"/>
                    <a:pt x="167" y="622"/>
                  </a:cubicBezTo>
                  <a:cubicBezTo>
                    <a:pt x="179" y="628"/>
                    <a:pt x="179" y="628"/>
                    <a:pt x="179" y="628"/>
                  </a:cubicBezTo>
                  <a:cubicBezTo>
                    <a:pt x="197" y="637"/>
                    <a:pt x="218" y="645"/>
                    <a:pt x="219" y="645"/>
                  </a:cubicBezTo>
                  <a:cubicBezTo>
                    <a:pt x="220" y="645"/>
                    <a:pt x="242" y="653"/>
                    <a:pt x="261" y="658"/>
                  </a:cubicBezTo>
                  <a:cubicBezTo>
                    <a:pt x="274" y="661"/>
                    <a:pt x="274" y="661"/>
                    <a:pt x="274" y="661"/>
                  </a:cubicBezTo>
                  <a:cubicBezTo>
                    <a:pt x="317" y="610"/>
                    <a:pt x="317" y="610"/>
                    <a:pt x="317" y="610"/>
                  </a:cubicBezTo>
                  <a:cubicBezTo>
                    <a:pt x="328" y="611"/>
                    <a:pt x="338" y="611"/>
                    <a:pt x="348" y="610"/>
                  </a:cubicBezTo>
                  <a:cubicBezTo>
                    <a:pt x="392" y="661"/>
                    <a:pt x="392" y="661"/>
                    <a:pt x="392" y="661"/>
                  </a:cubicBezTo>
                  <a:lnTo>
                    <a:pt x="405" y="658"/>
                  </a:lnTo>
                  <a:close/>
                  <a:moveTo>
                    <a:pt x="356" y="565"/>
                  </a:moveTo>
                  <a:cubicBezTo>
                    <a:pt x="340" y="567"/>
                    <a:pt x="325" y="567"/>
                    <a:pt x="310" y="565"/>
                  </a:cubicBezTo>
                  <a:cubicBezTo>
                    <a:pt x="299" y="564"/>
                    <a:pt x="299" y="564"/>
                    <a:pt x="299" y="564"/>
                  </a:cubicBezTo>
                  <a:cubicBezTo>
                    <a:pt x="258" y="612"/>
                    <a:pt x="258" y="612"/>
                    <a:pt x="258" y="612"/>
                  </a:cubicBezTo>
                  <a:cubicBezTo>
                    <a:pt x="245" y="608"/>
                    <a:pt x="234" y="604"/>
                    <a:pt x="234" y="604"/>
                  </a:cubicBezTo>
                  <a:cubicBezTo>
                    <a:pt x="234" y="604"/>
                    <a:pt x="223" y="600"/>
                    <a:pt x="211" y="594"/>
                  </a:cubicBezTo>
                  <a:cubicBezTo>
                    <a:pt x="210" y="535"/>
                    <a:pt x="210" y="535"/>
                    <a:pt x="210" y="535"/>
                  </a:cubicBezTo>
                  <a:cubicBezTo>
                    <a:pt x="200" y="528"/>
                    <a:pt x="200" y="528"/>
                    <a:pt x="200" y="528"/>
                  </a:cubicBezTo>
                  <a:cubicBezTo>
                    <a:pt x="186" y="519"/>
                    <a:pt x="172" y="509"/>
                    <a:pt x="160" y="497"/>
                  </a:cubicBezTo>
                  <a:cubicBezTo>
                    <a:pt x="152" y="489"/>
                    <a:pt x="152" y="489"/>
                    <a:pt x="152" y="489"/>
                  </a:cubicBezTo>
                  <a:cubicBezTo>
                    <a:pt x="96" y="498"/>
                    <a:pt x="96" y="498"/>
                    <a:pt x="96" y="498"/>
                  </a:cubicBezTo>
                  <a:cubicBezTo>
                    <a:pt x="89" y="487"/>
                    <a:pt x="83" y="477"/>
                    <a:pt x="83" y="477"/>
                  </a:cubicBezTo>
                  <a:cubicBezTo>
                    <a:pt x="83" y="477"/>
                    <a:pt x="77" y="466"/>
                    <a:pt x="71" y="455"/>
                  </a:cubicBezTo>
                  <a:cubicBezTo>
                    <a:pt x="105" y="413"/>
                    <a:pt x="105" y="413"/>
                    <a:pt x="105" y="413"/>
                  </a:cubicBezTo>
                  <a:cubicBezTo>
                    <a:pt x="101" y="402"/>
                    <a:pt x="101" y="402"/>
                    <a:pt x="101" y="402"/>
                  </a:cubicBezTo>
                  <a:cubicBezTo>
                    <a:pt x="96" y="384"/>
                    <a:pt x="92" y="365"/>
                    <a:pt x="91" y="346"/>
                  </a:cubicBezTo>
                  <a:cubicBezTo>
                    <a:pt x="91" y="334"/>
                    <a:pt x="91" y="334"/>
                    <a:pt x="91" y="334"/>
                  </a:cubicBezTo>
                  <a:cubicBezTo>
                    <a:pt x="45" y="308"/>
                    <a:pt x="45" y="308"/>
                    <a:pt x="45" y="308"/>
                  </a:cubicBezTo>
                  <a:cubicBezTo>
                    <a:pt x="47" y="294"/>
                    <a:pt x="49" y="283"/>
                    <a:pt x="49" y="283"/>
                  </a:cubicBezTo>
                  <a:cubicBezTo>
                    <a:pt x="49" y="282"/>
                    <a:pt x="51" y="271"/>
                    <a:pt x="54" y="258"/>
                  </a:cubicBezTo>
                  <a:cubicBezTo>
                    <a:pt x="108" y="248"/>
                    <a:pt x="108" y="248"/>
                    <a:pt x="108" y="248"/>
                  </a:cubicBezTo>
                  <a:cubicBezTo>
                    <a:pt x="113" y="238"/>
                    <a:pt x="113" y="238"/>
                    <a:pt x="113" y="238"/>
                  </a:cubicBezTo>
                  <a:cubicBezTo>
                    <a:pt x="120" y="222"/>
                    <a:pt x="130" y="207"/>
                    <a:pt x="141" y="193"/>
                  </a:cubicBezTo>
                  <a:cubicBezTo>
                    <a:pt x="148" y="184"/>
                    <a:pt x="148" y="184"/>
                    <a:pt x="148" y="184"/>
                  </a:cubicBezTo>
                  <a:cubicBezTo>
                    <a:pt x="129" y="129"/>
                    <a:pt x="129" y="129"/>
                    <a:pt x="129" y="129"/>
                  </a:cubicBezTo>
                  <a:cubicBezTo>
                    <a:pt x="138" y="120"/>
                    <a:pt x="148" y="112"/>
                    <a:pt x="148" y="112"/>
                  </a:cubicBezTo>
                  <a:cubicBezTo>
                    <a:pt x="148" y="112"/>
                    <a:pt x="157" y="104"/>
                    <a:pt x="168" y="96"/>
                  </a:cubicBezTo>
                  <a:cubicBezTo>
                    <a:pt x="223" y="127"/>
                    <a:pt x="223" y="127"/>
                    <a:pt x="223" y="127"/>
                  </a:cubicBezTo>
                  <a:cubicBezTo>
                    <a:pt x="233" y="123"/>
                    <a:pt x="233" y="123"/>
                    <a:pt x="233" y="123"/>
                  </a:cubicBezTo>
                  <a:cubicBezTo>
                    <a:pt x="246" y="117"/>
                    <a:pt x="260" y="112"/>
                    <a:pt x="274" y="109"/>
                  </a:cubicBezTo>
                  <a:cubicBezTo>
                    <a:pt x="285" y="106"/>
                    <a:pt x="285" y="106"/>
                    <a:pt x="285" y="106"/>
                  </a:cubicBezTo>
                  <a:cubicBezTo>
                    <a:pt x="308" y="45"/>
                    <a:pt x="308" y="45"/>
                    <a:pt x="308" y="45"/>
                  </a:cubicBezTo>
                  <a:cubicBezTo>
                    <a:pt x="321" y="44"/>
                    <a:pt x="333" y="44"/>
                    <a:pt x="333" y="44"/>
                  </a:cubicBezTo>
                  <a:cubicBezTo>
                    <a:pt x="333" y="44"/>
                    <a:pt x="345" y="44"/>
                    <a:pt x="358" y="45"/>
                  </a:cubicBezTo>
                  <a:cubicBezTo>
                    <a:pt x="381" y="106"/>
                    <a:pt x="381" y="106"/>
                    <a:pt x="381" y="106"/>
                  </a:cubicBezTo>
                  <a:cubicBezTo>
                    <a:pt x="393" y="109"/>
                    <a:pt x="393" y="109"/>
                    <a:pt x="393" y="109"/>
                  </a:cubicBezTo>
                  <a:cubicBezTo>
                    <a:pt x="407" y="112"/>
                    <a:pt x="420" y="117"/>
                    <a:pt x="434" y="123"/>
                  </a:cubicBezTo>
                  <a:cubicBezTo>
                    <a:pt x="444" y="127"/>
                    <a:pt x="444" y="127"/>
                    <a:pt x="444" y="127"/>
                  </a:cubicBezTo>
                  <a:cubicBezTo>
                    <a:pt x="499" y="96"/>
                    <a:pt x="499" y="96"/>
                    <a:pt x="499" y="96"/>
                  </a:cubicBezTo>
                  <a:cubicBezTo>
                    <a:pt x="509" y="104"/>
                    <a:pt x="518" y="112"/>
                    <a:pt x="518" y="112"/>
                  </a:cubicBezTo>
                  <a:cubicBezTo>
                    <a:pt x="519" y="112"/>
                    <a:pt x="528" y="120"/>
                    <a:pt x="537" y="129"/>
                  </a:cubicBezTo>
                  <a:cubicBezTo>
                    <a:pt x="518" y="184"/>
                    <a:pt x="518" y="184"/>
                    <a:pt x="518" y="184"/>
                  </a:cubicBezTo>
                  <a:cubicBezTo>
                    <a:pt x="526" y="193"/>
                    <a:pt x="526" y="193"/>
                    <a:pt x="526" y="193"/>
                  </a:cubicBezTo>
                  <a:cubicBezTo>
                    <a:pt x="537" y="207"/>
                    <a:pt x="546" y="222"/>
                    <a:pt x="554" y="238"/>
                  </a:cubicBezTo>
                  <a:cubicBezTo>
                    <a:pt x="558" y="248"/>
                    <a:pt x="558" y="248"/>
                    <a:pt x="558" y="248"/>
                  </a:cubicBezTo>
                  <a:cubicBezTo>
                    <a:pt x="612" y="258"/>
                    <a:pt x="612" y="258"/>
                    <a:pt x="612" y="258"/>
                  </a:cubicBezTo>
                  <a:cubicBezTo>
                    <a:pt x="615" y="271"/>
                    <a:pt x="617" y="283"/>
                    <a:pt x="617" y="283"/>
                  </a:cubicBezTo>
                  <a:cubicBezTo>
                    <a:pt x="617" y="283"/>
                    <a:pt x="619" y="295"/>
                    <a:pt x="620" y="308"/>
                  </a:cubicBezTo>
                  <a:cubicBezTo>
                    <a:pt x="576" y="334"/>
                    <a:pt x="576" y="334"/>
                    <a:pt x="576" y="334"/>
                  </a:cubicBezTo>
                  <a:cubicBezTo>
                    <a:pt x="575" y="346"/>
                    <a:pt x="575" y="346"/>
                    <a:pt x="575" y="346"/>
                  </a:cubicBezTo>
                  <a:cubicBezTo>
                    <a:pt x="574" y="365"/>
                    <a:pt x="570" y="384"/>
                    <a:pt x="565" y="403"/>
                  </a:cubicBezTo>
                  <a:cubicBezTo>
                    <a:pt x="561" y="414"/>
                    <a:pt x="561" y="414"/>
                    <a:pt x="561" y="414"/>
                  </a:cubicBezTo>
                  <a:cubicBezTo>
                    <a:pt x="594" y="455"/>
                    <a:pt x="594" y="455"/>
                    <a:pt x="594" y="455"/>
                  </a:cubicBezTo>
                  <a:cubicBezTo>
                    <a:pt x="589" y="467"/>
                    <a:pt x="583" y="477"/>
                    <a:pt x="583" y="477"/>
                  </a:cubicBezTo>
                  <a:cubicBezTo>
                    <a:pt x="583" y="477"/>
                    <a:pt x="577" y="488"/>
                    <a:pt x="569" y="499"/>
                  </a:cubicBezTo>
                  <a:cubicBezTo>
                    <a:pt x="514" y="489"/>
                    <a:pt x="514" y="489"/>
                    <a:pt x="514" y="489"/>
                  </a:cubicBezTo>
                  <a:cubicBezTo>
                    <a:pt x="506" y="497"/>
                    <a:pt x="506" y="497"/>
                    <a:pt x="506" y="497"/>
                  </a:cubicBezTo>
                  <a:cubicBezTo>
                    <a:pt x="493" y="509"/>
                    <a:pt x="480" y="519"/>
                    <a:pt x="466" y="529"/>
                  </a:cubicBezTo>
                  <a:cubicBezTo>
                    <a:pt x="455" y="535"/>
                    <a:pt x="455" y="535"/>
                    <a:pt x="455" y="535"/>
                  </a:cubicBezTo>
                  <a:cubicBezTo>
                    <a:pt x="455" y="594"/>
                    <a:pt x="455" y="594"/>
                    <a:pt x="455" y="594"/>
                  </a:cubicBezTo>
                  <a:cubicBezTo>
                    <a:pt x="443" y="600"/>
                    <a:pt x="432" y="604"/>
                    <a:pt x="431" y="604"/>
                  </a:cubicBezTo>
                  <a:cubicBezTo>
                    <a:pt x="431" y="604"/>
                    <a:pt x="420" y="608"/>
                    <a:pt x="407" y="612"/>
                  </a:cubicBezTo>
                  <a:cubicBezTo>
                    <a:pt x="367" y="564"/>
                    <a:pt x="367" y="564"/>
                    <a:pt x="367" y="564"/>
                  </a:cubicBezTo>
                  <a:lnTo>
                    <a:pt x="356" y="565"/>
                  </a:lnTo>
                  <a:close/>
                  <a:moveTo>
                    <a:pt x="511" y="334"/>
                  </a:moveTo>
                  <a:cubicBezTo>
                    <a:pt x="511" y="236"/>
                    <a:pt x="431" y="156"/>
                    <a:pt x="333" y="156"/>
                  </a:cubicBezTo>
                  <a:cubicBezTo>
                    <a:pt x="235" y="156"/>
                    <a:pt x="155" y="236"/>
                    <a:pt x="155" y="334"/>
                  </a:cubicBezTo>
                  <a:cubicBezTo>
                    <a:pt x="155" y="432"/>
                    <a:pt x="235" y="512"/>
                    <a:pt x="333" y="512"/>
                  </a:cubicBezTo>
                  <a:cubicBezTo>
                    <a:pt x="431" y="512"/>
                    <a:pt x="511" y="432"/>
                    <a:pt x="511" y="334"/>
                  </a:cubicBezTo>
                  <a:close/>
                  <a:moveTo>
                    <a:pt x="467" y="334"/>
                  </a:moveTo>
                  <a:cubicBezTo>
                    <a:pt x="467" y="408"/>
                    <a:pt x="407" y="468"/>
                    <a:pt x="333" y="468"/>
                  </a:cubicBezTo>
                  <a:cubicBezTo>
                    <a:pt x="259" y="468"/>
                    <a:pt x="199" y="408"/>
                    <a:pt x="199" y="334"/>
                  </a:cubicBezTo>
                  <a:cubicBezTo>
                    <a:pt x="199" y="260"/>
                    <a:pt x="259" y="200"/>
                    <a:pt x="333" y="200"/>
                  </a:cubicBezTo>
                  <a:cubicBezTo>
                    <a:pt x="407" y="200"/>
                    <a:pt x="467" y="260"/>
                    <a:pt x="467" y="3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2" name="bcgIcons_Energy">
            <a:extLst>
              <a:ext uri="{FF2B5EF4-FFF2-40B4-BE49-F238E27FC236}">
                <a16:creationId xmlns:a16="http://schemas.microsoft.com/office/drawing/2014/main" id="{A82092FC-29FD-446F-95EE-29DD1B5B6F96}"/>
              </a:ext>
            </a:extLst>
          </p:cNvPr>
          <p:cNvGrpSpPr>
            <a:grpSpLocks noChangeAspect="1"/>
          </p:cNvGrpSpPr>
          <p:nvPr/>
        </p:nvGrpSpPr>
        <p:grpSpPr bwMode="auto">
          <a:xfrm>
            <a:off x="9538497" y="4051280"/>
            <a:ext cx="504056" cy="852205"/>
            <a:chOff x="2864" y="501"/>
            <a:chExt cx="1956" cy="3307"/>
          </a:xfrm>
          <a:solidFill>
            <a:schemeClr val="tx2"/>
          </a:solidFill>
        </p:grpSpPr>
        <p:sp>
          <p:nvSpPr>
            <p:cNvPr id="64" name="Freeform 36">
              <a:extLst>
                <a:ext uri="{FF2B5EF4-FFF2-40B4-BE49-F238E27FC236}">
                  <a16:creationId xmlns:a16="http://schemas.microsoft.com/office/drawing/2014/main" id="{8623283E-FA5D-4E55-B70B-FBDEF4D676BD}"/>
                </a:ext>
              </a:extLst>
            </p:cNvPr>
            <p:cNvSpPr>
              <a:spLocks noEditPoints="1"/>
            </p:cNvSpPr>
            <p:nvPr/>
          </p:nvSpPr>
          <p:spPr bwMode="auto">
            <a:xfrm>
              <a:off x="2864" y="501"/>
              <a:ext cx="1956" cy="330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37">
              <a:extLst>
                <a:ext uri="{FF2B5EF4-FFF2-40B4-BE49-F238E27FC236}">
                  <a16:creationId xmlns:a16="http://schemas.microsoft.com/office/drawing/2014/main" id="{1439707F-F3DD-4FCA-A07F-8D563606D2F3}"/>
                </a:ext>
              </a:extLst>
            </p:cNvPr>
            <p:cNvSpPr>
              <a:spLocks/>
            </p:cNvSpPr>
            <p:nvPr/>
          </p:nvSpPr>
          <p:spPr bwMode="auto">
            <a:xfrm>
              <a:off x="3023" y="660"/>
              <a:ext cx="1638" cy="21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196277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B1758-DF24-409C-8AA6-9F3AEF7CE3ED}"/>
              </a:ext>
            </a:extLst>
          </p:cNvPr>
          <p:cNvGraphicFramePr>
            <a:graphicFrameLocks noChangeAspect="1"/>
          </p:cNvGraphicFramePr>
          <p:nvPr>
            <p:custDataLst>
              <p:tags r:id="rId2"/>
            </p:custDataLst>
            <p:extLst>
              <p:ext uri="{D42A27DB-BD31-4B8C-83A1-F6EECF244321}">
                <p14:modId xmlns:p14="http://schemas.microsoft.com/office/powerpoint/2010/main" val="239044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7" name="think-cell Slide" r:id="rId5" imgW="608" imgH="606" progId="TCLayout.ActiveDocument.1">
                  <p:embed/>
                </p:oleObj>
              </mc:Choice>
              <mc:Fallback>
                <p:oleObj name="think-cell Slide" r:id="rId5" imgW="608" imgH="606" progId="TCLayout.ActiveDocument.1">
                  <p:embed/>
                  <p:pic>
                    <p:nvPicPr>
                      <p:cNvPr id="5" name="Object 4" hidden="1">
                        <a:extLst>
                          <a:ext uri="{FF2B5EF4-FFF2-40B4-BE49-F238E27FC236}">
                            <a16:creationId xmlns:a16="http://schemas.microsoft.com/office/drawing/2014/main" id="{F7AB1758-DF24-409C-8AA6-9F3AEF7CE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EAF99E-BEB4-44E5-B080-196EF0E42B6B}"/>
              </a:ext>
            </a:extLst>
          </p:cNvPr>
          <p:cNvSpPr/>
          <p:nvPr>
            <p:custDataLst>
              <p:tags r:id="rId3"/>
            </p:custDataLst>
          </p:nvPr>
        </p:nvSpPr>
        <p:spPr>
          <a:xfrm>
            <a:off x="0" y="0"/>
            <a:ext cx="158750" cy="15875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Aft>
                <a:spcPts val="1000"/>
              </a:spcAft>
            </a:pPr>
            <a:endParaRPr lang="cs-CZ" sz="6000" dirty="0">
              <a:solidFill>
                <a:schemeClr val="bg1"/>
              </a:solidFill>
              <a:latin typeface="BebasNeueRegular" panose="020B0606020202050201" pitchFamily="34" charset="0"/>
              <a:ea typeface="+mj-ea"/>
              <a:cs typeface="+mj-cs"/>
              <a:sym typeface="BebasNeueRegular" panose="020B0606020202050201" pitchFamily="34" charset="0"/>
            </a:endParaRPr>
          </a:p>
        </p:txBody>
      </p:sp>
      <p:sp>
        <p:nvSpPr>
          <p:cNvPr id="4" name="Title 3">
            <a:extLst>
              <a:ext uri="{FF2B5EF4-FFF2-40B4-BE49-F238E27FC236}">
                <a16:creationId xmlns:a16="http://schemas.microsoft.com/office/drawing/2014/main" id="{69E1C064-65C8-4AEA-97D7-4DE641D9EE29}"/>
              </a:ext>
            </a:extLst>
          </p:cNvPr>
          <p:cNvSpPr>
            <a:spLocks noGrp="1"/>
          </p:cNvSpPr>
          <p:nvPr>
            <p:ph type="title"/>
          </p:nvPr>
        </p:nvSpPr>
        <p:spPr/>
        <p:txBody>
          <a:bodyPr/>
          <a:lstStyle/>
          <a:p>
            <a:r>
              <a:rPr lang="cs-CZ" dirty="0" err="1"/>
              <a:t>architecture</a:t>
            </a:r>
            <a:endParaRPr lang="en-GB" dirty="0"/>
          </a:p>
        </p:txBody>
      </p:sp>
      <p:sp>
        <p:nvSpPr>
          <p:cNvPr id="31" name="Rectangle 30">
            <a:extLst>
              <a:ext uri="{FF2B5EF4-FFF2-40B4-BE49-F238E27FC236}">
                <a16:creationId xmlns:a16="http://schemas.microsoft.com/office/drawing/2014/main" id="{01C9D7CE-DD62-40A1-ABB6-2C5B0D40DBD5}"/>
              </a:ext>
            </a:extLst>
          </p:cNvPr>
          <p:cNvSpPr/>
          <p:nvPr/>
        </p:nvSpPr>
        <p:spPr>
          <a:xfrm>
            <a:off x="621548" y="1820651"/>
            <a:ext cx="4755502" cy="443368"/>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a:solidFill>
                  <a:srgbClr val="FFFFFF"/>
                </a:solidFill>
              </a:rPr>
              <a:t>API </a:t>
            </a:r>
            <a:r>
              <a:rPr lang="cs-CZ" b="1" dirty="0" err="1">
                <a:solidFill>
                  <a:srgbClr val="FFFFFF"/>
                </a:solidFill>
              </a:rPr>
              <a:t>calls</a:t>
            </a:r>
            <a:r>
              <a:rPr lang="cs-CZ" b="1" dirty="0">
                <a:solidFill>
                  <a:srgbClr val="FFFFFF"/>
                </a:solidFill>
              </a:rPr>
              <a:t> and data </a:t>
            </a:r>
            <a:r>
              <a:rPr lang="cs-CZ" b="1" dirty="0" err="1">
                <a:solidFill>
                  <a:srgbClr val="FFFFFF"/>
                </a:solidFill>
              </a:rPr>
              <a:t>sources</a:t>
            </a:r>
            <a:endParaRPr lang="cs-CZ" b="1" dirty="0">
              <a:solidFill>
                <a:srgbClr val="FFFFFF"/>
              </a:solidFill>
            </a:endParaRPr>
          </a:p>
        </p:txBody>
      </p:sp>
      <p:sp>
        <p:nvSpPr>
          <p:cNvPr id="35" name="Rectangle 34">
            <a:extLst>
              <a:ext uri="{FF2B5EF4-FFF2-40B4-BE49-F238E27FC236}">
                <a16:creationId xmlns:a16="http://schemas.microsoft.com/office/drawing/2014/main" id="{19E3036B-8ADF-4302-9833-051A3801AE09}"/>
              </a:ext>
            </a:extLst>
          </p:cNvPr>
          <p:cNvSpPr/>
          <p:nvPr/>
        </p:nvSpPr>
        <p:spPr>
          <a:xfrm>
            <a:off x="621548" y="2259270"/>
            <a:ext cx="4755502" cy="997936"/>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grpSp>
        <p:nvGrpSpPr>
          <p:cNvPr id="8" name="Group 7">
            <a:extLst>
              <a:ext uri="{FF2B5EF4-FFF2-40B4-BE49-F238E27FC236}">
                <a16:creationId xmlns:a16="http://schemas.microsoft.com/office/drawing/2014/main" id="{FD106AA4-1D8D-40A9-B758-13BCC7760A6C}"/>
              </a:ext>
            </a:extLst>
          </p:cNvPr>
          <p:cNvGrpSpPr/>
          <p:nvPr/>
        </p:nvGrpSpPr>
        <p:grpSpPr>
          <a:xfrm>
            <a:off x="626676" y="4401906"/>
            <a:ext cx="6156122" cy="1441304"/>
            <a:chOff x="626676" y="4401906"/>
            <a:chExt cx="6156122" cy="1441304"/>
          </a:xfrm>
        </p:grpSpPr>
        <p:sp>
          <p:nvSpPr>
            <p:cNvPr id="26" name="Rectangle 25">
              <a:extLst>
                <a:ext uri="{FF2B5EF4-FFF2-40B4-BE49-F238E27FC236}">
                  <a16:creationId xmlns:a16="http://schemas.microsoft.com/office/drawing/2014/main" id="{40E5D093-D5EF-4550-A069-5B315D6CE1F8}"/>
                </a:ext>
              </a:extLst>
            </p:cNvPr>
            <p:cNvSpPr/>
            <p:nvPr/>
          </p:nvSpPr>
          <p:spPr>
            <a:xfrm>
              <a:off x="626676" y="4401906"/>
              <a:ext cx="4755502" cy="443368"/>
            </a:xfrm>
            <a:prstGeom prst="rect">
              <a:avLst/>
            </a:prstGeom>
            <a:solidFill>
              <a:srgbClr val="65BB4B"/>
            </a:solidFill>
            <a:ln w="12700">
              <a:solidFill>
                <a:srgbClr val="65BB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err="1">
                  <a:solidFill>
                    <a:srgbClr val="FFFFFF"/>
                  </a:solidFill>
                </a:rPr>
                <a:t>Potentially</a:t>
              </a:r>
              <a:r>
                <a:rPr lang="cs-CZ" b="1" dirty="0">
                  <a:solidFill>
                    <a:srgbClr val="FFFFFF"/>
                  </a:solidFill>
                </a:rPr>
                <a:t>: AI </a:t>
              </a:r>
              <a:r>
                <a:rPr lang="cs-CZ" b="1" dirty="0" err="1">
                  <a:solidFill>
                    <a:srgbClr val="FFFFFF"/>
                  </a:solidFill>
                </a:rPr>
                <a:t>recommender</a:t>
              </a:r>
              <a:endParaRPr lang="cs-CZ" b="1" dirty="0">
                <a:solidFill>
                  <a:srgbClr val="FFFFFF"/>
                </a:solidFill>
              </a:endParaRPr>
            </a:p>
          </p:txBody>
        </p:sp>
        <p:sp>
          <p:nvSpPr>
            <p:cNvPr id="27" name="Rectangle 26">
              <a:extLst>
                <a:ext uri="{FF2B5EF4-FFF2-40B4-BE49-F238E27FC236}">
                  <a16:creationId xmlns:a16="http://schemas.microsoft.com/office/drawing/2014/main" id="{45B3B32E-7F05-4444-8147-A67A0894240A}"/>
                </a:ext>
              </a:extLst>
            </p:cNvPr>
            <p:cNvSpPr/>
            <p:nvPr/>
          </p:nvSpPr>
          <p:spPr>
            <a:xfrm>
              <a:off x="626676" y="4845274"/>
              <a:ext cx="4755502" cy="997936"/>
            </a:xfrm>
            <a:prstGeom prst="rect">
              <a:avLst/>
            </a:prstGeom>
            <a:noFill/>
            <a:ln w="12700">
              <a:solidFill>
                <a:srgbClr val="65BB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grpSp>
          <p:nvGrpSpPr>
            <p:cNvPr id="25" name="Group 24">
              <a:extLst>
                <a:ext uri="{FF2B5EF4-FFF2-40B4-BE49-F238E27FC236}">
                  <a16:creationId xmlns:a16="http://schemas.microsoft.com/office/drawing/2014/main" id="{70FF9B39-D9F3-4575-9A3C-595ED698D04C}"/>
                </a:ext>
              </a:extLst>
            </p:cNvPr>
            <p:cNvGrpSpPr/>
            <p:nvPr/>
          </p:nvGrpSpPr>
          <p:grpSpPr>
            <a:xfrm>
              <a:off x="5377050" y="4928316"/>
              <a:ext cx="1405748" cy="720652"/>
              <a:chOff x="5377050" y="2056980"/>
              <a:chExt cx="1405748" cy="720652"/>
            </a:xfrm>
          </p:grpSpPr>
          <p:cxnSp>
            <p:nvCxnSpPr>
              <p:cNvPr id="42" name="Straight Arrow Connector 41">
                <a:extLst>
                  <a:ext uri="{FF2B5EF4-FFF2-40B4-BE49-F238E27FC236}">
                    <a16:creationId xmlns:a16="http://schemas.microsoft.com/office/drawing/2014/main" id="{90AABEE1-22B9-43D3-BD3E-253F24ED0EFE}"/>
                  </a:ext>
                </a:extLst>
              </p:cNvPr>
              <p:cNvCxnSpPr>
                <a:cxnSpLocks/>
              </p:cNvCxnSpPr>
              <p:nvPr/>
            </p:nvCxnSpPr>
            <p:spPr>
              <a:xfrm flipH="1" flipV="1">
                <a:off x="5377050" y="2762987"/>
                <a:ext cx="1405748" cy="14645"/>
              </a:xfrm>
              <a:prstGeom prst="straightConnector1">
                <a:avLst/>
              </a:prstGeom>
              <a:ln w="19050" cap="flat" cmpd="sng" algn="ctr">
                <a:solidFill>
                  <a:srgbClr val="6E6F73"/>
                </a:solidFill>
                <a:prstDash val="sysDot"/>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D10B3F14-1A4B-4C7E-935E-EC87E7F474B0}"/>
                  </a:ext>
                </a:extLst>
              </p:cNvPr>
              <p:cNvSpPr/>
              <p:nvPr/>
            </p:nvSpPr>
            <p:spPr>
              <a:xfrm>
                <a:off x="5504666" y="2056980"/>
                <a:ext cx="1228414"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Aft>
                    <a:spcPts val="1000"/>
                  </a:spcAft>
                </a:pPr>
                <a:r>
                  <a:rPr lang="cs-CZ" sz="1600" i="1" dirty="0" err="1">
                    <a:solidFill>
                      <a:srgbClr val="7F7F7F"/>
                    </a:solidFill>
                  </a:rPr>
                  <a:t>Submits</a:t>
                </a:r>
                <a:r>
                  <a:rPr lang="cs-CZ" sz="1600" i="1" dirty="0">
                    <a:solidFill>
                      <a:srgbClr val="7F7F7F"/>
                    </a:solidFill>
                  </a:rPr>
                  <a:t> </a:t>
                </a:r>
                <a:r>
                  <a:rPr lang="cs-CZ" sz="1600" i="1" dirty="0" err="1">
                    <a:solidFill>
                      <a:srgbClr val="7F7F7F"/>
                    </a:solidFill>
                  </a:rPr>
                  <a:t>historical</a:t>
                </a:r>
                <a:r>
                  <a:rPr lang="cs-CZ" sz="1600" i="1" dirty="0">
                    <a:solidFill>
                      <a:srgbClr val="7F7F7F"/>
                    </a:solidFill>
                  </a:rPr>
                  <a:t> data for AI </a:t>
                </a:r>
                <a:r>
                  <a:rPr lang="cs-CZ" sz="1600" i="1" dirty="0" err="1">
                    <a:solidFill>
                      <a:srgbClr val="7F7F7F"/>
                    </a:solidFill>
                  </a:rPr>
                  <a:t>predictions</a:t>
                </a:r>
                <a:endParaRPr lang="cs-CZ" sz="1600" i="1" dirty="0">
                  <a:solidFill>
                    <a:srgbClr val="7F7F7F"/>
                  </a:solidFill>
                </a:endParaRPr>
              </a:p>
            </p:txBody>
          </p:sp>
        </p:grpSp>
        <p:pic>
          <p:nvPicPr>
            <p:cNvPr id="44" name="Picture 14" descr="SouvisejÃ­cÃ­ obrÃ¡zek">
              <a:extLst>
                <a:ext uri="{FF2B5EF4-FFF2-40B4-BE49-F238E27FC236}">
                  <a16:creationId xmlns:a16="http://schemas.microsoft.com/office/drawing/2014/main" id="{8AD0DADF-A4D6-4BCF-8017-9C73A7C4190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43472" y="5116522"/>
              <a:ext cx="1890516" cy="63505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0" descr="https://www.fullstackpython.com/img/logos/scipy.png">
              <a:extLst>
                <a:ext uri="{FF2B5EF4-FFF2-40B4-BE49-F238E27FC236}">
                  <a16:creationId xmlns:a16="http://schemas.microsoft.com/office/drawing/2014/main" id="{34EF1188-12FA-42A1-B38C-ABE0ED7582F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19736" y="5233779"/>
              <a:ext cx="1008112" cy="400544"/>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2" descr="https://upload.wikimedia.org/wikipedia/commons/thumb/6/69/Julia_prog_language.svg/1280px-Julia_prog_language.svg.png">
              <a:extLst>
                <a:ext uri="{FF2B5EF4-FFF2-40B4-BE49-F238E27FC236}">
                  <a16:creationId xmlns:a16="http://schemas.microsoft.com/office/drawing/2014/main" id="{AC8BDDBD-122E-463B-9A58-56C362A8C80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9416" y="5094941"/>
              <a:ext cx="630500" cy="42605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6" descr="VÃ½sledek obrÃ¡zku pro matplotlib logo">
              <a:extLst>
                <a:ext uri="{FF2B5EF4-FFF2-40B4-BE49-F238E27FC236}">
                  <a16:creationId xmlns:a16="http://schemas.microsoft.com/office/drawing/2014/main" id="{ABE74224-FC9B-43EC-9474-2E13F735756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422150" y="4928316"/>
              <a:ext cx="1297586" cy="310968"/>
            </a:xfrm>
            <a:prstGeom prst="rect">
              <a:avLst/>
            </a:prstGeom>
            <a:noFill/>
            <a:extLst>
              <a:ext uri="{909E8E84-426E-40DD-AFC4-6F175D3DCCD1}">
                <a14:hiddenFill xmlns:a14="http://schemas.microsoft.com/office/drawing/2010/main">
                  <a:solidFill>
                    <a:srgbClr val="FFFFFF"/>
                  </a:solidFill>
                </a14:hiddenFill>
              </a:ext>
            </a:extLst>
          </p:spPr>
        </p:pic>
      </p:grpSp>
      <p:pic>
        <p:nvPicPr>
          <p:cNvPr id="55" name="Picture 54" descr="VÃ½sledek obrÃ¡zku pro html 5 logo">
            <a:extLst>
              <a:ext uri="{FF2B5EF4-FFF2-40B4-BE49-F238E27FC236}">
                <a16:creationId xmlns:a16="http://schemas.microsoft.com/office/drawing/2014/main" id="{569DBA01-44A1-4426-9B86-91C3282C3F7B}"/>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69742"/>
          <a:stretch/>
        </p:blipFill>
        <p:spPr bwMode="auto">
          <a:xfrm>
            <a:off x="1055440" y="2403904"/>
            <a:ext cx="504056" cy="648915"/>
          </a:xfrm>
          <a:prstGeom prst="rect">
            <a:avLst/>
          </a:prstGeom>
          <a:noFill/>
          <a:extLst>
            <a:ext uri="{909E8E84-426E-40DD-AFC4-6F175D3DCCD1}">
              <a14:hiddenFill xmlns:a14="http://schemas.microsoft.com/office/drawing/2010/main">
                <a:solidFill>
                  <a:srgbClr val="FFFFFF"/>
                </a:solidFill>
              </a14:hiddenFill>
            </a:ext>
          </a:extLst>
        </p:spPr>
      </p:pic>
      <p:pic>
        <p:nvPicPr>
          <p:cNvPr id="71686" name="Picture 6" descr="Flat Zone s.r.o. | StartupJobs.cz">
            <a:extLst>
              <a:ext uri="{FF2B5EF4-FFF2-40B4-BE49-F238E27FC236}">
                <a16:creationId xmlns:a16="http://schemas.microsoft.com/office/drawing/2014/main" id="{04FEDD79-4908-40F3-8317-F61DDAFB0DC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919536" y="2470402"/>
            <a:ext cx="1528402" cy="537771"/>
          </a:xfrm>
          <a:prstGeom prst="rect">
            <a:avLst/>
          </a:prstGeom>
          <a:noFill/>
          <a:extLst>
            <a:ext uri="{909E8E84-426E-40DD-AFC4-6F175D3DCCD1}">
              <a14:hiddenFill xmlns:a14="http://schemas.microsoft.com/office/drawing/2010/main">
                <a:solidFill>
                  <a:srgbClr val="FFFFFF"/>
                </a:solidFill>
              </a14:hiddenFill>
            </a:ext>
          </a:extLst>
        </p:spPr>
      </p:pic>
      <p:pic>
        <p:nvPicPr>
          <p:cNvPr id="71688" name="Picture 8" descr="Apify Status">
            <a:extLst>
              <a:ext uri="{FF2B5EF4-FFF2-40B4-BE49-F238E27FC236}">
                <a16:creationId xmlns:a16="http://schemas.microsoft.com/office/drawing/2014/main" id="{8BDFBED6-00E0-4305-A559-C3A37CD842DF}"/>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723623" y="2549325"/>
            <a:ext cx="1473895" cy="390352"/>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8F866317-42BF-4BDE-A23F-E12AE68962C1}"/>
              </a:ext>
            </a:extLst>
          </p:cNvPr>
          <p:cNvGrpSpPr/>
          <p:nvPr/>
        </p:nvGrpSpPr>
        <p:grpSpPr>
          <a:xfrm>
            <a:off x="5377050" y="1820651"/>
            <a:ext cx="6161250" cy="4022558"/>
            <a:chOff x="5377050" y="1820651"/>
            <a:chExt cx="6161250" cy="4022558"/>
          </a:xfrm>
        </p:grpSpPr>
        <p:pic>
          <p:nvPicPr>
            <p:cNvPr id="478222" name="Picture 14" descr="SouvisejÃ­cÃ­ obrÃ¡zek">
              <a:extLst>
                <a:ext uri="{FF2B5EF4-FFF2-40B4-BE49-F238E27FC236}">
                  <a16:creationId xmlns:a16="http://schemas.microsoft.com/office/drawing/2014/main" id="{C213C53C-8D7F-42E6-B2A6-AC040CCF114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82990" y="2939677"/>
              <a:ext cx="1890516" cy="635057"/>
            </a:xfrm>
            <a:prstGeom prst="rect">
              <a:avLst/>
            </a:prstGeom>
            <a:noFill/>
            <a:extLst>
              <a:ext uri="{909E8E84-426E-40DD-AFC4-6F175D3DCCD1}">
                <a14:hiddenFill xmlns:a14="http://schemas.microsoft.com/office/drawing/2010/main">
                  <a:solidFill>
                    <a:srgbClr val="FFFFFF"/>
                  </a:solidFill>
                </a14:hiddenFill>
              </a:ext>
            </a:extLst>
          </p:spPr>
        </p:pic>
        <p:pic>
          <p:nvPicPr>
            <p:cNvPr id="478218" name="Picture 10" descr="https://www.fullstackpython.com/img/logos/scipy.png">
              <a:extLst>
                <a:ext uri="{FF2B5EF4-FFF2-40B4-BE49-F238E27FC236}">
                  <a16:creationId xmlns:a16="http://schemas.microsoft.com/office/drawing/2014/main" id="{FEF05588-FC81-4453-A1F4-F657ED78CFD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552384" y="3008173"/>
              <a:ext cx="1008112" cy="400544"/>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5AB4D651-B7FE-407D-AA5F-B372F712AE38}"/>
                </a:ext>
              </a:extLst>
            </p:cNvPr>
            <p:cNvSpPr/>
            <p:nvPr/>
          </p:nvSpPr>
          <p:spPr>
            <a:xfrm>
              <a:off x="6782798" y="2264018"/>
              <a:ext cx="4755502" cy="357919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sp>
          <p:nvSpPr>
            <p:cNvPr id="28" name="Rectangle 27">
              <a:extLst>
                <a:ext uri="{FF2B5EF4-FFF2-40B4-BE49-F238E27FC236}">
                  <a16:creationId xmlns:a16="http://schemas.microsoft.com/office/drawing/2014/main" id="{F32B6B47-4EA3-464C-AD97-3EDDF584C00E}"/>
                </a:ext>
              </a:extLst>
            </p:cNvPr>
            <p:cNvSpPr/>
            <p:nvPr/>
          </p:nvSpPr>
          <p:spPr>
            <a:xfrm>
              <a:off x="6782798" y="1820651"/>
              <a:ext cx="4755502" cy="443368"/>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a:solidFill>
                    <a:srgbClr val="FFFFFF"/>
                  </a:solidFill>
                </a:rPr>
                <a:t>Web </a:t>
              </a:r>
              <a:r>
                <a:rPr lang="en-GB" b="1" dirty="0">
                  <a:solidFill>
                    <a:srgbClr val="FFFFFF"/>
                  </a:solidFill>
                </a:rPr>
                <a:t>A</a:t>
              </a:r>
              <a:r>
                <a:rPr lang="cs-CZ" b="1" dirty="0" err="1">
                  <a:solidFill>
                    <a:srgbClr val="FFFFFF"/>
                  </a:solidFill>
                </a:rPr>
                <a:t>pplication</a:t>
              </a:r>
              <a:endParaRPr lang="cs-CZ" b="1" dirty="0">
                <a:solidFill>
                  <a:srgbClr val="FFFFFF"/>
                </a:solidFill>
              </a:endParaRPr>
            </a:p>
          </p:txBody>
        </p:sp>
        <p:pic>
          <p:nvPicPr>
            <p:cNvPr id="34" name="Picture 33" descr="VÃ½sledek obrÃ¡zku pro html 5 logo">
              <a:extLst>
                <a:ext uri="{FF2B5EF4-FFF2-40B4-BE49-F238E27FC236}">
                  <a16:creationId xmlns:a16="http://schemas.microsoft.com/office/drawing/2014/main" id="{E387D767-15B3-4197-A12E-A1EDC45DFDD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176120" y="4733676"/>
              <a:ext cx="1152128" cy="448800"/>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332E11B6-11C2-48CC-B719-B522909D1824}"/>
                </a:ext>
              </a:extLst>
            </p:cNvPr>
            <p:cNvGrpSpPr/>
            <p:nvPr/>
          </p:nvGrpSpPr>
          <p:grpSpPr>
            <a:xfrm>
              <a:off x="5377050" y="2056980"/>
              <a:ext cx="1437902" cy="790292"/>
              <a:chOff x="5377050" y="5334000"/>
              <a:chExt cx="1437902" cy="790292"/>
            </a:xfrm>
          </p:grpSpPr>
          <p:cxnSp>
            <p:nvCxnSpPr>
              <p:cNvPr id="40" name="Straight Arrow Connector 39">
                <a:extLst>
                  <a:ext uri="{FF2B5EF4-FFF2-40B4-BE49-F238E27FC236}">
                    <a16:creationId xmlns:a16="http://schemas.microsoft.com/office/drawing/2014/main" id="{06D81B21-4D9F-43F9-90DC-361E1B95F187}"/>
                  </a:ext>
                </a:extLst>
              </p:cNvPr>
              <p:cNvCxnSpPr>
                <a:cxnSpLocks/>
              </p:cNvCxnSpPr>
              <p:nvPr/>
            </p:nvCxnSpPr>
            <p:spPr>
              <a:xfrm>
                <a:off x="5377050" y="5334000"/>
                <a:ext cx="1437902" cy="0"/>
              </a:xfrm>
              <a:prstGeom prst="straightConnector1">
                <a:avLst/>
              </a:prstGeom>
              <a:ln w="19050" cap="flat" cmpd="sng" algn="ctr">
                <a:solidFill>
                  <a:srgbClr val="6E6F73"/>
                </a:solidFill>
                <a:prstDash val="sysDot"/>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B88AD5DB-F4BC-4DA8-A848-252472F64BD4}"/>
                  </a:ext>
                </a:extLst>
              </p:cNvPr>
              <p:cNvSpPr/>
              <p:nvPr/>
            </p:nvSpPr>
            <p:spPr>
              <a:xfrm>
                <a:off x="5441860" y="5680924"/>
                <a:ext cx="1228414" cy="443368"/>
              </a:xfrm>
              <a:prstGeom prst="rect">
                <a:avLst/>
              </a:prstGeom>
              <a:noFill/>
              <a:ln w="12700">
                <a:noFill/>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Aft>
                    <a:spcPts val="1000"/>
                  </a:spcAft>
                </a:pPr>
                <a:r>
                  <a:rPr lang="cs-CZ" sz="1600" i="1" dirty="0" err="1">
                    <a:solidFill>
                      <a:srgbClr val="7F7F7F"/>
                    </a:solidFill>
                  </a:rPr>
                  <a:t>Prepares</a:t>
                </a:r>
                <a:r>
                  <a:rPr lang="cs-CZ" sz="1600" i="1" dirty="0">
                    <a:solidFill>
                      <a:srgbClr val="7F7F7F"/>
                    </a:solidFill>
                  </a:rPr>
                  <a:t> data for map </a:t>
                </a:r>
                <a:r>
                  <a:rPr lang="cs-CZ" sz="1600" i="1" dirty="0" err="1">
                    <a:solidFill>
                      <a:srgbClr val="7F7F7F"/>
                    </a:solidFill>
                  </a:rPr>
                  <a:t>visualis</a:t>
                </a:r>
                <a:endParaRPr lang="cs-CZ" sz="1600" i="1" dirty="0">
                  <a:solidFill>
                    <a:srgbClr val="7F7F7F"/>
                  </a:solidFill>
                </a:endParaRPr>
              </a:p>
            </p:txBody>
          </p:sp>
        </p:grpSp>
        <p:grpSp>
          <p:nvGrpSpPr>
            <p:cNvPr id="36" name="Group 35">
              <a:extLst>
                <a:ext uri="{FF2B5EF4-FFF2-40B4-BE49-F238E27FC236}">
                  <a16:creationId xmlns:a16="http://schemas.microsoft.com/office/drawing/2014/main" id="{29BA1357-F31B-4F0E-AC72-B8EF48C33D21}"/>
                </a:ext>
              </a:extLst>
            </p:cNvPr>
            <p:cNvGrpSpPr/>
            <p:nvPr/>
          </p:nvGrpSpPr>
          <p:grpSpPr>
            <a:xfrm>
              <a:off x="7032104" y="2437600"/>
              <a:ext cx="4256890" cy="1351440"/>
              <a:chOff x="6782798" y="1728552"/>
              <a:chExt cx="4755502" cy="4731293"/>
            </a:xfrm>
          </p:grpSpPr>
          <p:sp>
            <p:nvSpPr>
              <p:cNvPr id="47" name="Rectangle 46">
                <a:extLst>
                  <a:ext uri="{FF2B5EF4-FFF2-40B4-BE49-F238E27FC236}">
                    <a16:creationId xmlns:a16="http://schemas.microsoft.com/office/drawing/2014/main" id="{826AC295-5A3D-4380-A5E8-A11A92EC93B9}"/>
                  </a:ext>
                </a:extLst>
              </p:cNvPr>
              <p:cNvSpPr/>
              <p:nvPr/>
            </p:nvSpPr>
            <p:spPr>
              <a:xfrm>
                <a:off x="6782798" y="2880654"/>
                <a:ext cx="4755502" cy="357919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sp>
            <p:nvSpPr>
              <p:cNvPr id="48" name="Rectangle 47">
                <a:extLst>
                  <a:ext uri="{FF2B5EF4-FFF2-40B4-BE49-F238E27FC236}">
                    <a16:creationId xmlns:a16="http://schemas.microsoft.com/office/drawing/2014/main" id="{8198981A-3732-49B8-8CEF-02FCD1384248}"/>
                  </a:ext>
                </a:extLst>
              </p:cNvPr>
              <p:cNvSpPr/>
              <p:nvPr/>
            </p:nvSpPr>
            <p:spPr>
              <a:xfrm>
                <a:off x="6782798" y="1728552"/>
                <a:ext cx="4755502" cy="1153170"/>
              </a:xfrm>
              <a:prstGeom prst="rect">
                <a:avLst/>
              </a:prstGeom>
              <a:solidFill>
                <a:srgbClr val="FFFFFF"/>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err="1">
                    <a:solidFill>
                      <a:schemeClr val="accent2"/>
                    </a:solidFill>
                  </a:rPr>
                  <a:t>Backend</a:t>
                </a:r>
                <a:endParaRPr lang="cs-CZ" b="1" dirty="0">
                  <a:solidFill>
                    <a:schemeClr val="accent2"/>
                  </a:solidFill>
                </a:endParaRPr>
              </a:p>
            </p:txBody>
          </p:sp>
        </p:grpSp>
        <p:grpSp>
          <p:nvGrpSpPr>
            <p:cNvPr id="50" name="Group 49">
              <a:extLst>
                <a:ext uri="{FF2B5EF4-FFF2-40B4-BE49-F238E27FC236}">
                  <a16:creationId xmlns:a16="http://schemas.microsoft.com/office/drawing/2014/main" id="{034D2C9A-FE0F-4B19-A909-C56D8E8F6E57}"/>
                </a:ext>
              </a:extLst>
            </p:cNvPr>
            <p:cNvGrpSpPr/>
            <p:nvPr/>
          </p:nvGrpSpPr>
          <p:grpSpPr>
            <a:xfrm>
              <a:off x="7032104" y="4169554"/>
              <a:ext cx="4256890" cy="1351440"/>
              <a:chOff x="6782798" y="1728552"/>
              <a:chExt cx="4755502" cy="4731293"/>
            </a:xfrm>
          </p:grpSpPr>
          <p:sp>
            <p:nvSpPr>
              <p:cNvPr id="51" name="Rectangle 50">
                <a:extLst>
                  <a:ext uri="{FF2B5EF4-FFF2-40B4-BE49-F238E27FC236}">
                    <a16:creationId xmlns:a16="http://schemas.microsoft.com/office/drawing/2014/main" id="{4BFC1A7F-F21B-48B9-91A2-64DE2CF60A58}"/>
                  </a:ext>
                </a:extLst>
              </p:cNvPr>
              <p:cNvSpPr/>
              <p:nvPr/>
            </p:nvSpPr>
            <p:spPr>
              <a:xfrm>
                <a:off x="6782798" y="2880654"/>
                <a:ext cx="4755502" cy="357919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cs-CZ" b="1" dirty="0">
                  <a:solidFill>
                    <a:srgbClr val="FFFFFF"/>
                  </a:solidFill>
                </a:endParaRPr>
              </a:p>
            </p:txBody>
          </p:sp>
          <p:sp>
            <p:nvSpPr>
              <p:cNvPr id="52" name="Rectangle 51">
                <a:extLst>
                  <a:ext uri="{FF2B5EF4-FFF2-40B4-BE49-F238E27FC236}">
                    <a16:creationId xmlns:a16="http://schemas.microsoft.com/office/drawing/2014/main" id="{C240FE68-7E4F-4893-8265-20EE2E7D7A22}"/>
                  </a:ext>
                </a:extLst>
              </p:cNvPr>
              <p:cNvSpPr/>
              <p:nvPr/>
            </p:nvSpPr>
            <p:spPr>
              <a:xfrm>
                <a:off x="6782798" y="1728552"/>
                <a:ext cx="4755502" cy="1153170"/>
              </a:xfrm>
              <a:prstGeom prst="rect">
                <a:avLst/>
              </a:prstGeom>
              <a:solidFill>
                <a:srgbClr val="FFFFFF"/>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cs-CZ" b="1" dirty="0" err="1">
                    <a:solidFill>
                      <a:schemeClr val="accent2"/>
                    </a:solidFill>
                  </a:rPr>
                  <a:t>Frontend</a:t>
                </a:r>
                <a:endParaRPr lang="cs-CZ" b="1" dirty="0">
                  <a:solidFill>
                    <a:schemeClr val="accent2"/>
                  </a:solidFill>
                </a:endParaRPr>
              </a:p>
            </p:txBody>
          </p:sp>
        </p:grpSp>
        <p:cxnSp>
          <p:nvCxnSpPr>
            <p:cNvPr id="53" name="Straight Arrow Connector 52">
              <a:extLst>
                <a:ext uri="{FF2B5EF4-FFF2-40B4-BE49-F238E27FC236}">
                  <a16:creationId xmlns:a16="http://schemas.microsoft.com/office/drawing/2014/main" id="{F8AE950B-8281-4886-9744-3B99F0CD2D69}"/>
                </a:ext>
              </a:extLst>
            </p:cNvPr>
            <p:cNvCxnSpPr>
              <a:cxnSpLocks/>
              <a:stCxn id="47" idx="2"/>
              <a:endCxn id="52" idx="0"/>
            </p:cNvCxnSpPr>
            <p:nvPr/>
          </p:nvCxnSpPr>
          <p:spPr>
            <a:xfrm>
              <a:off x="9160549" y="3789040"/>
              <a:ext cx="0" cy="380514"/>
            </a:xfrm>
            <a:prstGeom prst="straightConnector1">
              <a:avLst/>
            </a:prstGeom>
            <a:ln w="19050" cap="flat" cmpd="sng" algn="ctr">
              <a:solidFill>
                <a:srgbClr val="6E6F73"/>
              </a:solidFill>
              <a:prstDash val="sysDot"/>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pic>
          <p:nvPicPr>
            <p:cNvPr id="71690" name="Picture 10" descr="RAPIDS + Plotly Dash | RAPIDS">
              <a:extLst>
                <a:ext uri="{FF2B5EF4-FFF2-40B4-BE49-F238E27FC236}">
                  <a16:creationId xmlns:a16="http://schemas.microsoft.com/office/drawing/2014/main" id="{F69398E6-63CB-4EA6-A7A3-FBBA750455A9}"/>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176" t="30976" r="1176" b="30976"/>
            <a:stretch/>
          </p:blipFill>
          <p:spPr bwMode="auto">
            <a:xfrm>
              <a:off x="8904312" y="4631706"/>
              <a:ext cx="2079078" cy="60757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284668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4162&quot;&gt;&lt;version val=&quot;27042&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00000000000000000000E+00&quot;&gt;&lt;m_msothmcolidx val=&quot;0&quot;/&gt;&lt;m_rgb r=&quot;44&quot; g=&quot;AD&quot; b=&quot;93&quot;/&gt;&lt;m_nBrightness tagver0=&quot;26206&quot; tagname0=&quot;m_nBrightnessUNRECOGNIZED&quot; val=&quot;0&quot;/&gt;&lt;/elem&gt;&lt;elem m_fUsage=&quot;9.00000000000000022204E-01&quot;&gt;&lt;m_msothmcolidx val=&quot;0&quot;/&gt;&lt;m_rgb r=&quot;9D&quot; g=&quot;CA&quot; b=&quot;A5&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wDPl9qnSlCypX8j90FIp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wDPl9qnSlCypX8j90FIp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wDPl9qnSlCypX8j90FIp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I4fW31RvQl.iAdxtxPxEx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74thJv7BTPOmZ9ji518g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VaSdtQzS82Wx_Shd_8Tz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KrWQkStSxySSmNjFfSwK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7DUw2CTzkHwF0652R6d7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zhoYyKqTuGGkZx4zBRp9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plKcTUl1RyqDWfMLec1nW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dQsJZjuRwe.CLvj8_Czn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FQAjfeJKUMVqhXDzdm3P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xGC7FAqbLkeptUmIpyMrV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3Fd9xI6zGdIafZ6ASD7i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DNU6ZNQSPSLq8yW4Fw4h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SqiRxArQRG30rTP7T0u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AD2pV2mQCe9knoPDFZb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xHs2vgVS2GT_UXx2OAD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qloqp.NQwKzoLZShS.9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5vEozjbTmyZqOd0kgvSH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PYmLl8TvGCCzYHV7jD9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g5jcbLsQdGAJtsjN0f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Awm8hvSQ4aAumzlWyPX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ZfSlB6vSXSev9MZ5xCD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eN0cOYORFWv34m8JRWD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eN0cOYORFWv34m8JRWDf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6iMWckkTRWoegtiyJtX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L0mGG0oRHORCWj0B1xk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JlMDbeUTXmlac7ZoUBD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_o5BEh_5RBS61sFZNtS.K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wbOtvfCTgeTh6P3gbiwZ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_JdcfQd7R2mHbiSJUQ5E2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tH6zPsVRvac2SCnijMtXA"/>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xguQjkDROa.twY_aFad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25DOC2MTbquV5eV0iHb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931GGxTkkdULtqlOp3Xkgw"/>
</p:tagLst>
</file>

<file path=ppt/tags/tag6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K2dnT5OTM2mhhK4xMw1Q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dBPJIFRSIOJfEjvyobfG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pMyuj3qQAq7GnqQ17xSc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d4PZzPAQWym7LSct9pt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8bF4ME_5Sxq91yoS5qSeM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3OEAwOwRTDK9boDrpRZh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jhFIKeuQu6SH2q8KVzXG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Rdet9eqMSZCYZCYSnpuM2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rlu5ypF4R6WVulGFwEXFy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mJdXfV7RLGP5nKn2lya7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9HNgwHTR7GCaad7XEwBu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6vOyr4oKQ0i8MjrdTbHr2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pH1y4.94TwGvR0WAmPUUn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8VtvvOASzGEU28pnuNJ5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EhwdJ1SfaA_6TgTZ7iK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27Vie2YTC.OOWYlcVOwJ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4Jh5hRuDQpG_sNveHuRQT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R3lxkPbT7W9VcC3VrW_Y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E_h7e6fT7KXr0ReUzVxMg"/>
</p:tagLst>
</file>

<file path=ppt/theme/theme1.xml><?xml version="1.0" encoding="utf-8"?>
<a:theme xmlns:a="http://schemas.openxmlformats.org/drawingml/2006/main" name="1_BCG 2.1.2">
  <a:themeElements>
    <a:clrScheme name="Custom 5">
      <a:dk1>
        <a:srgbClr val="000000"/>
      </a:dk1>
      <a:lt1>
        <a:srgbClr val="FFFFFF"/>
      </a:lt1>
      <a:dk2>
        <a:srgbClr val="0F4BAA"/>
      </a:dk2>
      <a:lt2>
        <a:srgbClr val="808080"/>
      </a:lt2>
      <a:accent1>
        <a:srgbClr val="E2E2E2"/>
      </a:accent1>
      <a:accent2>
        <a:srgbClr val="00B0F0"/>
      </a:accent2>
      <a:accent3>
        <a:srgbClr val="B2B2B2"/>
      </a:accent3>
      <a:accent4>
        <a:srgbClr val="4D4D4D"/>
      </a:accent4>
      <a:accent5>
        <a:srgbClr val="5BAD82"/>
      </a:accent5>
      <a:accent6>
        <a:srgbClr val="79A2B3"/>
      </a:accent6>
      <a:hlink>
        <a:srgbClr val="FF6600"/>
      </a:hlink>
      <a:folHlink>
        <a:srgbClr val="C00000"/>
      </a:folHlink>
    </a:clrScheme>
    <a:fontScheme name="eForce">
      <a:majorFont>
        <a:latin typeface="BebasNeueRegular"/>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75000"/>
          </a:schemeClr>
        </a:solidFill>
        <a:ln w="12700">
          <a:noFill/>
        </a:ln>
      </a:spPr>
      <a:bodyPr rtlCol="0" anchor="t"/>
      <a:lstStyle>
        <a:defPPr algn="l">
          <a:lnSpc>
            <a:spcPct val="90000"/>
          </a:lnSpc>
          <a:spcAft>
            <a:spcPts val="1000"/>
          </a:spcAft>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spAutoFit/>
      </a:bodyPr>
      <a:lstStyle>
        <a:defPPr>
          <a:lnSpc>
            <a:spcPct val="90000"/>
          </a:lnSpc>
          <a:spcAft>
            <a:spcPts val="600"/>
          </a:spcAft>
          <a:defRPr sz="2400" dirty="0" err="1"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eForce_template_18_v1.potx" id="{66A0EC5E-8A3D-45B9-AB83-D150E5485081}" vid="{5C68B040-FD18-4A89-BBBB-681BC631AE85}"/>
    </a:ext>
  </a:extLst>
</a:theme>
</file>

<file path=ppt/theme/theme2.xml><?xml version="1.0" encoding="utf-8"?>
<a:theme xmlns:a="http://schemas.openxmlformats.org/drawingml/2006/main" name="Office Theme">
  <a:themeElements>
    <a:clrScheme name="Wildfire colors v5">
      <a:dk1>
        <a:srgbClr val="6E6F73"/>
      </a:dk1>
      <a:lt1>
        <a:sysClr val="window" lastClr="FFFFFF"/>
      </a:lt1>
      <a:dk2>
        <a:srgbClr val="2FC77E"/>
      </a:dk2>
      <a:lt2>
        <a:srgbClr val="F2F2F2"/>
      </a:lt2>
      <a:accent1>
        <a:srgbClr val="03522D"/>
      </a:accent1>
      <a:accent2>
        <a:srgbClr val="197A56"/>
      </a:accent2>
      <a:accent3>
        <a:srgbClr val="D4DF33"/>
      </a:accent3>
      <a:accent4>
        <a:srgbClr val="3EAD92"/>
      </a:accent4>
      <a:accent5>
        <a:srgbClr val="6E6F73"/>
      </a:accent5>
      <a:accent6>
        <a:srgbClr val="295C7E"/>
      </a:accent6>
      <a:hlink>
        <a:srgbClr val="133649"/>
      </a:hlink>
      <a:folHlink>
        <a:srgbClr val="670F3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Charcoal R55 G55 B58">
      <a:srgbClr val="37373A"/>
    </a:custClr>
    <a:custClr name="Dark Blue R46 G53 B88">
      <a:srgbClr val="2E3558"/>
    </a:custClr>
    <a:custClr name="Bright Blue R48 G193 B215">
      <a:srgbClr val="30C1D7"/>
    </a:custClr>
    <a:custClr name="Cranberry R103 G15 B49">
      <a:srgbClr val="670F31"/>
    </a:custClr>
    <a:custClr name="Magenta R231 G28 B87">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Wildfire colors v5">
      <a:dk1>
        <a:srgbClr val="6E6F73"/>
      </a:dk1>
      <a:lt1>
        <a:sysClr val="window" lastClr="FFFFFF"/>
      </a:lt1>
      <a:dk2>
        <a:srgbClr val="2FC77E"/>
      </a:dk2>
      <a:lt2>
        <a:srgbClr val="F2F2F2"/>
      </a:lt2>
      <a:accent1>
        <a:srgbClr val="03522D"/>
      </a:accent1>
      <a:accent2>
        <a:srgbClr val="197A56"/>
      </a:accent2>
      <a:accent3>
        <a:srgbClr val="D4DF33"/>
      </a:accent3>
      <a:accent4>
        <a:srgbClr val="3EAD92"/>
      </a:accent4>
      <a:accent5>
        <a:srgbClr val="6E6F73"/>
      </a:accent5>
      <a:accent6>
        <a:srgbClr val="295C7E"/>
      </a:accent6>
      <a:hlink>
        <a:srgbClr val="133649"/>
      </a:hlink>
      <a:folHlink>
        <a:srgbClr val="670F3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Charcoal R55 G55 B58">
      <a:srgbClr val="37373A"/>
    </a:custClr>
    <a:custClr name="Dark Blue R46 G53 B88">
      <a:srgbClr val="2E3558"/>
    </a:custClr>
    <a:custClr name="Bright Blue R48 G193 B215">
      <a:srgbClr val="30C1D7"/>
    </a:custClr>
    <a:custClr name="Cranberry R103 G15 B49">
      <a:srgbClr val="670F31"/>
    </a:custClr>
    <a:custClr name="Magenta R231 G28 B87">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Force_template_18_v1</Template>
  <TotalTime>8733</TotalTime>
  <Words>396</Words>
  <Application>Microsoft Office PowerPoint</Application>
  <PresentationFormat>Widescreen</PresentationFormat>
  <Paragraphs>79</Paragraphs>
  <Slides>16</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Consolas</vt:lpstr>
      <vt:lpstr>Trebuchet MS</vt:lpstr>
      <vt:lpstr>BebasNeueRegular</vt:lpstr>
      <vt:lpstr>1_BCG 2.1.2</vt:lpstr>
      <vt:lpstr>think-cell Slide</vt:lpstr>
      <vt:lpstr>Get Real: a way to improve real estate</vt:lpstr>
      <vt:lpstr>PowerPoint Presentation</vt:lpstr>
      <vt:lpstr>User story</vt:lpstr>
      <vt:lpstr>In the medium term, we need some 200,000 additional apartments</vt:lpstr>
      <vt:lpstr>Problem</vt:lpstr>
      <vt:lpstr>We cannot solve the market...  ...but we can help individuals</vt:lpstr>
      <vt:lpstr>Our solution – Get real</vt:lpstr>
      <vt:lpstr>use-case model</vt:lpstr>
      <vt:lpstr>architecture</vt:lpstr>
      <vt:lpstr>Demo</vt:lpstr>
      <vt:lpstr>Next steps and future of project</vt:lpstr>
      <vt:lpstr>Possible monetization</vt:lpstr>
      <vt:lpstr>PowerPoint Presentation</vt:lpstr>
      <vt:lpstr>PowerPoint Presentation</vt:lpstr>
      <vt:lpstr>datasets already used (Flatzone)</vt:lpstr>
      <vt:lpstr>datasets already used (Apify)</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ředstavení    studentského týmu eforce prague formula</dc:title>
  <dc:creator>Marek Szeles</dc:creator>
  <cp:lastModifiedBy>Marek Szeles</cp:lastModifiedBy>
  <cp:revision>183</cp:revision>
  <cp:lastPrinted>2017-08-01T19:42:15Z</cp:lastPrinted>
  <dcterms:created xsi:type="dcterms:W3CDTF">2018-09-26T17:01:51Z</dcterms:created>
  <dcterms:modified xsi:type="dcterms:W3CDTF">2021-10-17T10:4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Name">
    <vt:lpwstr>WideScreen16_9 Trebuchet</vt:lpwstr>
  </property>
  <property fmtid="{D5CDD505-2E9C-101B-9397-08002B2CF9AE}" pid="3" name="Format Name">
    <vt:lpwstr>Wildfire Combination Format</vt:lpwstr>
  </property>
  <property fmtid="{D5CDD505-2E9C-101B-9397-08002B2CF9AE}" pid="4" name="AMS Version">
    <vt:lpwstr>O2013_V5_v11</vt:lpwstr>
  </property>
  <property fmtid="{D5CDD505-2E9C-101B-9397-08002B2CF9AE}" pid="5" name="_AdHocReviewCycleID">
    <vt:i4>-1788014547</vt:i4>
  </property>
  <property fmtid="{D5CDD505-2E9C-101B-9397-08002B2CF9AE}" pid="6" name="_NewReviewCycle">
    <vt:lpwstr/>
  </property>
  <property fmtid="{D5CDD505-2E9C-101B-9397-08002B2CF9AE}" pid="7" name="_EmailSubject">
    <vt:lpwstr>Example/Exercise slides for L3.1 and L3.3</vt:lpwstr>
  </property>
  <property fmtid="{D5CDD505-2E9C-101B-9397-08002B2CF9AE}" pid="8" name="_AuthorEmail">
    <vt:lpwstr>ho.Damien@bcg.com</vt:lpwstr>
  </property>
  <property fmtid="{D5CDD505-2E9C-101B-9397-08002B2CF9AE}" pid="9" name="_AuthorEmailDisplayName">
    <vt:lpwstr>Ho, Damien</vt:lpwstr>
  </property>
  <property fmtid="{D5CDD505-2E9C-101B-9397-08002B2CF9AE}" pid="10" name="_PreviousAdHocReviewCycleID">
    <vt:i4>1023204742</vt:i4>
  </property>
</Properties>
</file>